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2"/>
  </p:notesMasterIdLst>
  <p:handoutMasterIdLst>
    <p:handoutMasterId r:id="rId13"/>
  </p:handoutMasterIdLst>
  <p:sldIdLst>
    <p:sldId id="2147482153" r:id="rId5"/>
    <p:sldId id="2147483569" r:id="rId6"/>
    <p:sldId id="2147483570" r:id="rId7"/>
    <p:sldId id="2147482159" r:id="rId8"/>
    <p:sldId id="2147482172" r:id="rId9"/>
    <p:sldId id="283" r:id="rId10"/>
    <p:sldId id="2147482215" r:id="rId11"/>
  </p:sldIdLst>
  <p:sldSz cx="12192000" cy="6858000"/>
  <p:notesSz cx="7315200" cy="9601200"/>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70961819-D110-4708-BE9E-4695BCE076AC}">
          <p14:sldIdLst>
            <p14:sldId id="2147482153"/>
            <p14:sldId id="2147483569"/>
            <p14:sldId id="2147483570"/>
            <p14:sldId id="2147482159"/>
            <p14:sldId id="2147482172"/>
            <p14:sldId id="283"/>
            <p14:sldId id="21474822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4AFA69-3FAB-2ACB-99FB-9D3F00CFF03A}" name="Andrew Cousin" initials="AC" userId="S::acousin@circlegraphicsonline.com::6c958f18-ec10-484b-88ed-44c239eb6abf" providerId="AD"/>
  <p188:author id="{F05C9CF6-4AE4-86B7-3DF6-EB5868B82A7E}" name="Leyla Sudbury" initials="LS" userId="e26f0f27d584eb59"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66A"/>
    <a:srgbClr val="790B0F"/>
    <a:srgbClr val="313335"/>
    <a:srgbClr val="EB1C24"/>
    <a:srgbClr val="B32122"/>
    <a:srgbClr val="FFFFFF"/>
    <a:srgbClr val="0076BE"/>
    <a:srgbClr val="C0C0C0"/>
    <a:srgbClr val="0068A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34CAAA-1B98-4EBC-A483-AFAD5B8ABB34}" v="708" dt="2025-12-29T22:15:02.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7" autoAdjust="0"/>
    <p:restoredTop sz="96081" autoAdjust="0"/>
  </p:normalViewPr>
  <p:slideViewPr>
    <p:cSldViewPr snapToGrid="0">
      <p:cViewPr varScale="1">
        <p:scale>
          <a:sx n="88" d="100"/>
          <a:sy n="88" d="100"/>
        </p:scale>
        <p:origin x="228" y="6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 d="1"/>
        <a:sy n="1" d="1"/>
      </p:scale>
      <p:origin x="0" y="-8408"/>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yla Sudbury" userId="890bb51f-dee1-435f-8e11-2be3fb3781a0" providerId="ADAL" clId="{E090E926-E63A-429F-9EA8-044276B4F737}"/>
    <pc:docChg chg="undo custSel modSld">
      <pc:chgData name="Leyla Sudbury" userId="890bb51f-dee1-435f-8e11-2be3fb3781a0" providerId="ADAL" clId="{E090E926-E63A-429F-9EA8-044276B4F737}" dt="2025-12-29T22:22:14.068" v="928" actId="1076"/>
      <pc:docMkLst>
        <pc:docMk/>
      </pc:docMkLst>
      <pc:sldChg chg="addSp delSp modSp mod">
        <pc:chgData name="Leyla Sudbury" userId="890bb51f-dee1-435f-8e11-2be3fb3781a0" providerId="ADAL" clId="{E090E926-E63A-429F-9EA8-044276B4F737}" dt="2025-12-29T22:22:14.068" v="928" actId="1076"/>
        <pc:sldMkLst>
          <pc:docMk/>
          <pc:sldMk cId="263255523" sldId="283"/>
        </pc:sldMkLst>
        <pc:spChg chg="mod">
          <ac:chgData name="Leyla Sudbury" userId="890bb51f-dee1-435f-8e11-2be3fb3781a0" providerId="ADAL" clId="{E090E926-E63A-429F-9EA8-044276B4F737}" dt="2025-12-29T22:22:14.068" v="928" actId="1076"/>
          <ac:spMkLst>
            <pc:docMk/>
            <pc:sldMk cId="263255523" sldId="283"/>
            <ac:spMk id="8" creationId="{EB2A78C3-4CD8-8664-2628-72B522FBB747}"/>
          </ac:spMkLst>
        </pc:spChg>
        <pc:spChg chg="mod">
          <ac:chgData name="Leyla Sudbury" userId="890bb51f-dee1-435f-8e11-2be3fb3781a0" providerId="ADAL" clId="{E090E926-E63A-429F-9EA8-044276B4F737}" dt="2025-12-17T20:39:32.152" v="16" actId="20577"/>
          <ac:spMkLst>
            <pc:docMk/>
            <pc:sldMk cId="263255523" sldId="283"/>
            <ac:spMk id="65" creationId="{8A82343E-4E9D-AFC7-88A2-898DD05DD3F1}"/>
          </ac:spMkLst>
        </pc:spChg>
        <pc:picChg chg="add mod">
          <ac:chgData name="Leyla Sudbury" userId="890bb51f-dee1-435f-8e11-2be3fb3781a0" providerId="ADAL" clId="{E090E926-E63A-429F-9EA8-044276B4F737}" dt="2025-12-17T20:39:59.345" v="18"/>
          <ac:picMkLst>
            <pc:docMk/>
            <pc:sldMk cId="263255523" sldId="283"/>
            <ac:picMk id="3" creationId="{9F16BF6F-89E9-2EF7-DEFA-0968BCC97196}"/>
          </ac:picMkLst>
        </pc:picChg>
      </pc:sldChg>
      <pc:sldChg chg="modSp mod">
        <pc:chgData name="Leyla Sudbury" userId="890bb51f-dee1-435f-8e11-2be3fb3781a0" providerId="ADAL" clId="{E090E926-E63A-429F-9EA8-044276B4F737}" dt="2025-12-29T21:58:30.328" v="916" actId="20577"/>
        <pc:sldMkLst>
          <pc:docMk/>
          <pc:sldMk cId="4274724275" sldId="2147482153"/>
        </pc:sldMkLst>
        <pc:spChg chg="mod">
          <ac:chgData name="Leyla Sudbury" userId="890bb51f-dee1-435f-8e11-2be3fb3781a0" providerId="ADAL" clId="{E090E926-E63A-429F-9EA8-044276B4F737}" dt="2025-12-18T18:38:32.094" v="449" actId="1076"/>
          <ac:spMkLst>
            <pc:docMk/>
            <pc:sldMk cId="4274724275" sldId="2147482153"/>
            <ac:spMk id="9" creationId="{D0F21988-3D70-3431-023A-85BD98862D76}"/>
          </ac:spMkLst>
        </pc:spChg>
        <pc:spChg chg="mod">
          <ac:chgData name="Leyla Sudbury" userId="890bb51f-dee1-435f-8e11-2be3fb3781a0" providerId="ADAL" clId="{E090E926-E63A-429F-9EA8-044276B4F737}" dt="2025-12-17T20:38:50.004" v="7" actId="20577"/>
          <ac:spMkLst>
            <pc:docMk/>
            <pc:sldMk cId="4274724275" sldId="2147482153"/>
            <ac:spMk id="22" creationId="{6118AC92-34FB-E7C6-D5F2-6684BCC0A6F9}"/>
          </ac:spMkLst>
        </pc:spChg>
        <pc:spChg chg="mod">
          <ac:chgData name="Leyla Sudbury" userId="890bb51f-dee1-435f-8e11-2be3fb3781a0" providerId="ADAL" clId="{E090E926-E63A-429F-9EA8-044276B4F737}" dt="2025-12-29T21:58:30.328" v="916" actId="20577"/>
          <ac:spMkLst>
            <pc:docMk/>
            <pc:sldMk cId="4274724275" sldId="2147482153"/>
            <ac:spMk id="25" creationId="{3B027A6B-2859-8123-D180-E439D5386EC9}"/>
          </ac:spMkLst>
        </pc:spChg>
        <pc:picChg chg="mod">
          <ac:chgData name="Leyla Sudbury" userId="890bb51f-dee1-435f-8e11-2be3fb3781a0" providerId="ADAL" clId="{E090E926-E63A-429F-9EA8-044276B4F737}" dt="2025-12-17T20:40:13.111" v="19" actId="1076"/>
          <ac:picMkLst>
            <pc:docMk/>
            <pc:sldMk cId="4274724275" sldId="2147482153"/>
            <ac:picMk id="2" creationId="{82DD4528-D69E-FDF1-153B-47EBF176A070}"/>
          </ac:picMkLst>
        </pc:picChg>
      </pc:sldChg>
      <pc:sldChg chg="addSp delSp modSp mod">
        <pc:chgData name="Leyla Sudbury" userId="890bb51f-dee1-435f-8e11-2be3fb3781a0" providerId="ADAL" clId="{E090E926-E63A-429F-9EA8-044276B4F737}" dt="2025-12-29T22:12:31.606" v="918" actId="20577"/>
        <pc:sldMkLst>
          <pc:docMk/>
          <pc:sldMk cId="2726271297" sldId="2147482159"/>
        </pc:sldMkLst>
        <pc:spChg chg="mod">
          <ac:chgData name="Leyla Sudbury" userId="890bb51f-dee1-435f-8e11-2be3fb3781a0" providerId="ADAL" clId="{E090E926-E63A-429F-9EA8-044276B4F737}" dt="2025-12-17T20:39:03.884" v="9" actId="20577"/>
          <ac:spMkLst>
            <pc:docMk/>
            <pc:sldMk cId="2726271297" sldId="2147482159"/>
            <ac:spMk id="2" creationId="{1757E4A1-C056-6359-979C-A85D29309C92}"/>
          </ac:spMkLst>
        </pc:spChg>
        <pc:spChg chg="mod">
          <ac:chgData name="Leyla Sudbury" userId="890bb51f-dee1-435f-8e11-2be3fb3781a0" providerId="ADAL" clId="{E090E926-E63A-429F-9EA8-044276B4F737}" dt="2025-12-17T20:38:08.961" v="4" actId="207"/>
          <ac:spMkLst>
            <pc:docMk/>
            <pc:sldMk cId="2726271297" sldId="2147482159"/>
            <ac:spMk id="18" creationId="{85EDC7CE-1C33-41F1-63C2-93ABA8F2CC90}"/>
          </ac:spMkLst>
        </pc:spChg>
        <pc:graphicFrameChg chg="mod modGraphic">
          <ac:chgData name="Leyla Sudbury" userId="890bb51f-dee1-435f-8e11-2be3fb3781a0" providerId="ADAL" clId="{E090E926-E63A-429F-9EA8-044276B4F737}" dt="2025-12-29T22:12:31.606" v="918" actId="20577"/>
          <ac:graphicFrameMkLst>
            <pc:docMk/>
            <pc:sldMk cId="2726271297" sldId="2147482159"/>
            <ac:graphicFrameMk id="14" creationId="{8F44831F-37FD-562F-2331-DE6E07EDCD0B}"/>
          </ac:graphicFrameMkLst>
        </pc:graphicFrameChg>
        <pc:graphicFrameChg chg="modGraphic">
          <ac:chgData name="Leyla Sudbury" userId="890bb51f-dee1-435f-8e11-2be3fb3781a0" providerId="ADAL" clId="{E090E926-E63A-429F-9EA8-044276B4F737}" dt="2025-12-17T21:06:00.866" v="323" actId="20577"/>
          <ac:graphicFrameMkLst>
            <pc:docMk/>
            <pc:sldMk cId="2726271297" sldId="2147482159"/>
            <ac:graphicFrameMk id="15" creationId="{7C14166A-EFB3-70C3-0241-21045A014CCE}"/>
          </ac:graphicFrameMkLst>
        </pc:graphicFrameChg>
      </pc:sldChg>
      <pc:sldChg chg="modSp mod">
        <pc:chgData name="Leyla Sudbury" userId="890bb51f-dee1-435f-8e11-2be3fb3781a0" providerId="ADAL" clId="{E090E926-E63A-429F-9EA8-044276B4F737}" dt="2025-12-18T20:10:51.561" v="854" actId="1076"/>
        <pc:sldMkLst>
          <pc:docMk/>
          <pc:sldMk cId="307133359" sldId="2147482172"/>
        </pc:sldMkLst>
        <pc:spChg chg="mod">
          <ac:chgData name="Leyla Sudbury" userId="890bb51f-dee1-435f-8e11-2be3fb3781a0" providerId="ADAL" clId="{E090E926-E63A-429F-9EA8-044276B4F737}" dt="2025-12-17T20:38:14.255" v="5" actId="108"/>
          <ac:spMkLst>
            <pc:docMk/>
            <pc:sldMk cId="307133359" sldId="2147482172"/>
            <ac:spMk id="16" creationId="{56E7E83D-8912-BAD8-FD3B-5728846A17E9}"/>
          </ac:spMkLst>
        </pc:spChg>
        <pc:spChg chg="mod">
          <ac:chgData name="Leyla Sudbury" userId="890bb51f-dee1-435f-8e11-2be3fb3781a0" providerId="ADAL" clId="{E090E926-E63A-429F-9EA8-044276B4F737}" dt="2025-12-17T20:39:09.471" v="11" actId="20577"/>
          <ac:spMkLst>
            <pc:docMk/>
            <pc:sldMk cId="307133359" sldId="2147482172"/>
            <ac:spMk id="17" creationId="{84DDFD75-BFFB-C2C6-7EE8-CA4DE741B0C7}"/>
          </ac:spMkLst>
        </pc:spChg>
        <pc:graphicFrameChg chg="mod modGraphic">
          <ac:chgData name="Leyla Sudbury" userId="890bb51f-dee1-435f-8e11-2be3fb3781a0" providerId="ADAL" clId="{E090E926-E63A-429F-9EA8-044276B4F737}" dt="2025-12-18T20:10:51.561" v="854" actId="1076"/>
          <ac:graphicFrameMkLst>
            <pc:docMk/>
            <pc:sldMk cId="307133359" sldId="2147482172"/>
            <ac:graphicFrameMk id="14" creationId="{7ABDFAF1-C11C-025A-2362-28DD671AFFD2}"/>
          </ac:graphicFrameMkLst>
        </pc:graphicFrameChg>
        <pc:graphicFrameChg chg="mod modGraphic">
          <ac:chgData name="Leyla Sudbury" userId="890bb51f-dee1-435f-8e11-2be3fb3781a0" providerId="ADAL" clId="{E090E926-E63A-429F-9EA8-044276B4F737}" dt="2025-12-18T20:10:08.837" v="846" actId="20577"/>
          <ac:graphicFrameMkLst>
            <pc:docMk/>
            <pc:sldMk cId="307133359" sldId="2147482172"/>
            <ac:graphicFrameMk id="15" creationId="{99D93484-A7F4-4FD6-1D48-9C36DAD37145}"/>
          </ac:graphicFrameMkLst>
        </pc:graphicFrameChg>
      </pc:sldChg>
      <pc:sldChg chg="addSp delSp modSp mod">
        <pc:chgData name="Leyla Sudbury" userId="890bb51f-dee1-435f-8e11-2be3fb3781a0" providerId="ADAL" clId="{E090E926-E63A-429F-9EA8-044276B4F737}" dt="2025-12-17T20:40:17.094" v="21"/>
        <pc:sldMkLst>
          <pc:docMk/>
          <pc:sldMk cId="1255544490" sldId="2147482215"/>
        </pc:sldMkLst>
        <pc:picChg chg="add mod">
          <ac:chgData name="Leyla Sudbury" userId="890bb51f-dee1-435f-8e11-2be3fb3781a0" providerId="ADAL" clId="{E090E926-E63A-429F-9EA8-044276B4F737}" dt="2025-12-17T20:40:17.094" v="21"/>
          <ac:picMkLst>
            <pc:docMk/>
            <pc:sldMk cId="1255544490" sldId="2147482215"/>
            <ac:picMk id="2" creationId="{ABCE98D5-0BA4-9DC4-05F3-3D71E6D5C489}"/>
          </ac:picMkLst>
        </pc:picChg>
      </pc:sldChg>
      <pc:sldChg chg="modSp mod">
        <pc:chgData name="Leyla Sudbury" userId="890bb51f-dee1-435f-8e11-2be3fb3781a0" providerId="ADAL" clId="{E090E926-E63A-429F-9EA8-044276B4F737}" dt="2025-12-17T21:03:54.246" v="168" actId="20577"/>
        <pc:sldMkLst>
          <pc:docMk/>
          <pc:sldMk cId="4015730852" sldId="2147483569"/>
        </pc:sldMkLst>
        <pc:spChg chg="mod">
          <ac:chgData name="Leyla Sudbury" userId="890bb51f-dee1-435f-8e11-2be3fb3781a0" providerId="ADAL" clId="{E090E926-E63A-429F-9EA8-044276B4F737}" dt="2025-12-17T21:03:54.246" v="168" actId="20577"/>
          <ac:spMkLst>
            <pc:docMk/>
            <pc:sldMk cId="4015730852" sldId="2147483569"/>
            <ac:spMk id="9" creationId="{D0E9CF54-9A0D-2FC0-5696-AE105C400483}"/>
          </ac:spMkLst>
        </pc:spChg>
      </pc:sldChg>
      <pc:sldChg chg="delSp modSp mod">
        <pc:chgData name="Leyla Sudbury" userId="890bb51f-dee1-435f-8e11-2be3fb3781a0" providerId="ADAL" clId="{E090E926-E63A-429F-9EA8-044276B4F737}" dt="2025-12-29T22:21:15.030" v="926" actId="1038"/>
        <pc:sldMkLst>
          <pc:docMk/>
          <pc:sldMk cId="3160767762" sldId="2147483570"/>
        </pc:sldMkLst>
        <pc:spChg chg="mod topLvl">
          <ac:chgData name="Leyla Sudbury" userId="890bb51f-dee1-435f-8e11-2be3fb3781a0" providerId="ADAL" clId="{E090E926-E63A-429F-9EA8-044276B4F737}" dt="2025-12-29T22:15:02.386" v="919" actId="165"/>
          <ac:spMkLst>
            <pc:docMk/>
            <pc:sldMk cId="3160767762" sldId="2147483570"/>
            <ac:spMk id="2" creationId="{24C54FB9-DCC3-8867-6181-F1B1C1BDA7AF}"/>
          </ac:spMkLst>
        </pc:spChg>
        <pc:spChg chg="mod">
          <ac:chgData name="Leyla Sudbury" userId="890bb51f-dee1-435f-8e11-2be3fb3781a0" providerId="ADAL" clId="{E090E926-E63A-429F-9EA8-044276B4F737}" dt="2025-12-29T22:15:02.386" v="919" actId="165"/>
          <ac:spMkLst>
            <pc:docMk/>
            <pc:sldMk cId="3160767762" sldId="2147483570"/>
            <ac:spMk id="7" creationId="{7B25AAC0-BD80-3A9C-F957-683A65303333}"/>
          </ac:spMkLst>
        </pc:spChg>
        <pc:spChg chg="mod">
          <ac:chgData name="Leyla Sudbury" userId="890bb51f-dee1-435f-8e11-2be3fb3781a0" providerId="ADAL" clId="{E090E926-E63A-429F-9EA8-044276B4F737}" dt="2025-12-29T22:21:15.030" v="926" actId="1038"/>
          <ac:spMkLst>
            <pc:docMk/>
            <pc:sldMk cId="3160767762" sldId="2147483570"/>
            <ac:spMk id="16" creationId="{C7D549C8-65C6-0140-0A9A-D6970EC9C8C6}"/>
          </ac:spMkLst>
        </pc:spChg>
        <pc:spChg chg="mod">
          <ac:chgData name="Leyla Sudbury" userId="890bb51f-dee1-435f-8e11-2be3fb3781a0" providerId="ADAL" clId="{E090E926-E63A-429F-9EA8-044276B4F737}" dt="2025-12-18T19:51:36.688" v="451" actId="20577"/>
          <ac:spMkLst>
            <pc:docMk/>
            <pc:sldMk cId="3160767762" sldId="2147483570"/>
            <ac:spMk id="25" creationId="{C7984B5A-D0D3-46CD-C045-354A600C3487}"/>
          </ac:spMkLst>
        </pc:spChg>
        <pc:spChg chg="mod topLvl">
          <ac:chgData name="Leyla Sudbury" userId="890bb51f-dee1-435f-8e11-2be3fb3781a0" providerId="ADAL" clId="{E090E926-E63A-429F-9EA8-044276B4F737}" dt="2025-12-29T22:15:02.386" v="919" actId="165"/>
          <ac:spMkLst>
            <pc:docMk/>
            <pc:sldMk cId="3160767762" sldId="2147483570"/>
            <ac:spMk id="33" creationId="{D4B6C0E0-D080-C088-FCBE-755353E0004E}"/>
          </ac:spMkLst>
        </pc:spChg>
        <pc:spChg chg="mod topLvl">
          <ac:chgData name="Leyla Sudbury" userId="890bb51f-dee1-435f-8e11-2be3fb3781a0" providerId="ADAL" clId="{E090E926-E63A-429F-9EA8-044276B4F737}" dt="2025-12-29T22:15:02.386" v="919" actId="165"/>
          <ac:spMkLst>
            <pc:docMk/>
            <pc:sldMk cId="3160767762" sldId="2147483570"/>
            <ac:spMk id="34" creationId="{DF5B05DD-AB36-37C7-9F96-0B7BB32BBD83}"/>
          </ac:spMkLst>
        </pc:spChg>
        <pc:spChg chg="mod topLvl">
          <ac:chgData name="Leyla Sudbury" userId="890bb51f-dee1-435f-8e11-2be3fb3781a0" providerId="ADAL" clId="{E090E926-E63A-429F-9EA8-044276B4F737}" dt="2025-12-29T22:15:02.386" v="919" actId="165"/>
          <ac:spMkLst>
            <pc:docMk/>
            <pc:sldMk cId="3160767762" sldId="2147483570"/>
            <ac:spMk id="35" creationId="{E4428080-98D5-D848-280D-AEA81C54F54F}"/>
          </ac:spMkLst>
        </pc:spChg>
        <pc:spChg chg="mod topLvl">
          <ac:chgData name="Leyla Sudbury" userId="890bb51f-dee1-435f-8e11-2be3fb3781a0" providerId="ADAL" clId="{E090E926-E63A-429F-9EA8-044276B4F737}" dt="2025-12-29T22:15:02.386" v="919" actId="165"/>
          <ac:spMkLst>
            <pc:docMk/>
            <pc:sldMk cId="3160767762" sldId="2147483570"/>
            <ac:spMk id="36" creationId="{56746B98-03EC-15B3-C3CD-32407F47A08C}"/>
          </ac:spMkLst>
        </pc:spChg>
        <pc:spChg chg="mod topLvl">
          <ac:chgData name="Leyla Sudbury" userId="890bb51f-dee1-435f-8e11-2be3fb3781a0" providerId="ADAL" clId="{E090E926-E63A-429F-9EA8-044276B4F737}" dt="2025-12-29T22:15:02.386" v="919" actId="165"/>
          <ac:spMkLst>
            <pc:docMk/>
            <pc:sldMk cId="3160767762" sldId="2147483570"/>
            <ac:spMk id="37" creationId="{6B26F022-D718-67F4-F89F-CB7927402861}"/>
          </ac:spMkLst>
        </pc:spChg>
        <pc:spChg chg="mod">
          <ac:chgData name="Leyla Sudbury" userId="890bb51f-dee1-435f-8e11-2be3fb3781a0" providerId="ADAL" clId="{E090E926-E63A-429F-9EA8-044276B4F737}" dt="2025-12-18T19:52:20.226" v="564" actId="20577"/>
          <ac:spMkLst>
            <pc:docMk/>
            <pc:sldMk cId="3160767762" sldId="2147483570"/>
            <ac:spMk id="52" creationId="{2BFD9774-9B1D-B63D-6D8E-0CE2BE14BD70}"/>
          </ac:spMkLst>
        </pc:spChg>
        <pc:spChg chg="mod">
          <ac:chgData name="Leyla Sudbury" userId="890bb51f-dee1-435f-8e11-2be3fb3781a0" providerId="ADAL" clId="{E090E926-E63A-429F-9EA8-044276B4F737}" dt="2025-12-29T22:15:02.386" v="919" actId="165"/>
          <ac:spMkLst>
            <pc:docMk/>
            <pc:sldMk cId="3160767762" sldId="2147483570"/>
            <ac:spMk id="53" creationId="{03806439-657C-4E99-FFE1-D17348A921AF}"/>
          </ac:spMkLst>
        </pc:spChg>
        <pc:spChg chg="mod">
          <ac:chgData name="Leyla Sudbury" userId="890bb51f-dee1-435f-8e11-2be3fb3781a0" providerId="ADAL" clId="{E090E926-E63A-429F-9EA8-044276B4F737}" dt="2025-12-29T22:15:02.386" v="919" actId="165"/>
          <ac:spMkLst>
            <pc:docMk/>
            <pc:sldMk cId="3160767762" sldId="2147483570"/>
            <ac:spMk id="58" creationId="{F75B3514-0AF6-37C7-B850-581A251726EF}"/>
          </ac:spMkLst>
        </pc:spChg>
        <pc:spChg chg="mod">
          <ac:chgData name="Leyla Sudbury" userId="890bb51f-dee1-435f-8e11-2be3fb3781a0" providerId="ADAL" clId="{E090E926-E63A-429F-9EA8-044276B4F737}" dt="2025-12-29T22:15:02.386" v="919" actId="165"/>
          <ac:spMkLst>
            <pc:docMk/>
            <pc:sldMk cId="3160767762" sldId="2147483570"/>
            <ac:spMk id="73" creationId="{465F5DFB-ACD1-E10A-D02F-5DA048C01C7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3169920" cy="481728"/>
          </a:xfrm>
          <a:prstGeom prst="rect">
            <a:avLst/>
          </a:prstGeom>
        </p:spPr>
        <p:txBody>
          <a:bodyPr vert="horz" lIns="96663" tIns="48332" rIns="96663" bIns="48332" rtlCol="0"/>
          <a:lstStyle>
            <a:lvl1pPr algn="l">
              <a:defRPr sz="1300"/>
            </a:lvl1pPr>
          </a:lstStyle>
          <a:p>
            <a:endParaRPr lang="en-US" sz="800" dirty="0"/>
          </a:p>
        </p:txBody>
      </p:sp>
      <p:sp>
        <p:nvSpPr>
          <p:cNvPr id="3" name="Date Placeholder 2"/>
          <p:cNvSpPr>
            <a:spLocks noGrp="1"/>
          </p:cNvSpPr>
          <p:nvPr>
            <p:ph type="dt" sz="quarter" idx="1"/>
          </p:nvPr>
        </p:nvSpPr>
        <p:spPr>
          <a:xfrm>
            <a:off x="4143590" y="3"/>
            <a:ext cx="3169920" cy="481728"/>
          </a:xfrm>
          <a:prstGeom prst="rect">
            <a:avLst/>
          </a:prstGeom>
        </p:spPr>
        <p:txBody>
          <a:bodyPr vert="horz" lIns="96663" tIns="48332" rIns="96663" bIns="48332" rtlCol="0"/>
          <a:lstStyle>
            <a:lvl1pPr algn="r">
              <a:defRPr sz="1300"/>
            </a:lvl1pPr>
          </a:lstStyle>
          <a:p>
            <a:fld id="{57691E93-EF64-46CC-85E2-BBB5BEDB9501}" type="datetimeFigureOut">
              <a:rPr lang="en-US" sz="800"/>
              <a:t>12/29/2025</a:t>
            </a:fld>
            <a:endParaRPr lang="en-US" sz="800" dirty="0"/>
          </a:p>
        </p:txBody>
      </p:sp>
      <p:sp>
        <p:nvSpPr>
          <p:cNvPr id="4" name="Footer Placeholder 3"/>
          <p:cNvSpPr>
            <a:spLocks noGrp="1"/>
          </p:cNvSpPr>
          <p:nvPr>
            <p:ph type="ftr" sz="quarter" idx="2"/>
          </p:nvPr>
        </p:nvSpPr>
        <p:spPr>
          <a:xfrm>
            <a:off x="3" y="9119477"/>
            <a:ext cx="3169920" cy="481727"/>
          </a:xfrm>
          <a:prstGeom prst="rect">
            <a:avLst/>
          </a:prstGeom>
        </p:spPr>
        <p:txBody>
          <a:bodyPr vert="horz" lIns="96663" tIns="48332" rIns="96663" bIns="48332" rtlCol="0" anchor="b"/>
          <a:lstStyle>
            <a:lvl1pPr algn="l">
              <a:defRPr sz="1300"/>
            </a:lvl1pPr>
          </a:lstStyle>
          <a:p>
            <a:endParaRPr lang="en-US" sz="800" dirty="0"/>
          </a:p>
        </p:txBody>
      </p:sp>
      <p:sp>
        <p:nvSpPr>
          <p:cNvPr id="5" name="Slide Number Placeholder 4"/>
          <p:cNvSpPr>
            <a:spLocks noGrp="1"/>
          </p:cNvSpPr>
          <p:nvPr>
            <p:ph type="sldNum" sz="quarter" idx="3"/>
          </p:nvPr>
        </p:nvSpPr>
        <p:spPr>
          <a:xfrm>
            <a:off x="4143590" y="9119477"/>
            <a:ext cx="3169920" cy="481727"/>
          </a:xfrm>
          <a:prstGeom prst="rect">
            <a:avLst/>
          </a:prstGeom>
        </p:spPr>
        <p:txBody>
          <a:bodyPr vert="horz" lIns="96663" tIns="48332" rIns="96663" bIns="48332" rtlCol="0" anchor="b"/>
          <a:lstStyle>
            <a:lvl1pPr algn="r">
              <a:defRPr sz="13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585087"/>
            <a:ext cx="7313508" cy="50161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663" tIns="48332" rIns="96663" bIns="48332" rtlCol="0" anchor="ctr"/>
          <a:lstStyle/>
          <a:p>
            <a:pPr algn="ctr"/>
            <a:endParaRPr lang="en-US" dirty="0"/>
          </a:p>
        </p:txBody>
      </p:sp>
      <p:sp>
        <p:nvSpPr>
          <p:cNvPr id="2" name="Header Placeholder 1"/>
          <p:cNvSpPr>
            <a:spLocks noGrp="1"/>
          </p:cNvSpPr>
          <p:nvPr>
            <p:ph type="hdr" sz="quarter"/>
          </p:nvPr>
        </p:nvSpPr>
        <p:spPr>
          <a:xfrm>
            <a:off x="86757" y="3"/>
            <a:ext cx="3083165" cy="481728"/>
          </a:xfrm>
          <a:prstGeom prst="rect">
            <a:avLst/>
          </a:prstGeom>
        </p:spPr>
        <p:txBody>
          <a:bodyPr vert="horz" lIns="96663" tIns="48332" rIns="96663" bIns="48332" rtlCol="0"/>
          <a:lstStyle>
            <a:lvl1pPr algn="l">
              <a:defRPr sz="1500"/>
            </a:lvl1pPr>
          </a:lstStyle>
          <a:p>
            <a:endParaRPr lang="en-US" dirty="0"/>
          </a:p>
        </p:txBody>
      </p:sp>
      <p:sp>
        <p:nvSpPr>
          <p:cNvPr id="4" name="Slide Image Placeholder 3"/>
          <p:cNvSpPr>
            <a:spLocks noGrp="1" noRot="1" noChangeAspect="1"/>
          </p:cNvSpPr>
          <p:nvPr>
            <p:ph type="sldImg" idx="2"/>
          </p:nvPr>
        </p:nvSpPr>
        <p:spPr>
          <a:xfrm>
            <a:off x="207963" y="598488"/>
            <a:ext cx="6880225" cy="3870325"/>
          </a:xfrm>
          <a:prstGeom prst="rect">
            <a:avLst/>
          </a:prstGeom>
          <a:noFill/>
          <a:ln w="9525">
            <a:solidFill>
              <a:schemeClr val="bg2"/>
            </a:solidFill>
          </a:ln>
        </p:spPr>
        <p:txBody>
          <a:bodyPr vert="horz" lIns="96663" tIns="48332" rIns="96663" bIns="48332" rtlCol="0" anchor="ctr"/>
          <a:lstStyle/>
          <a:p>
            <a:endParaRPr lang="en-US" dirty="0"/>
          </a:p>
        </p:txBody>
      </p:sp>
      <p:sp>
        <p:nvSpPr>
          <p:cNvPr id="6" name="Footer Placeholder 5"/>
          <p:cNvSpPr>
            <a:spLocks noGrp="1"/>
          </p:cNvSpPr>
          <p:nvPr>
            <p:ph type="ftr" sz="quarter" idx="4"/>
          </p:nvPr>
        </p:nvSpPr>
        <p:spPr>
          <a:xfrm>
            <a:off x="86757" y="9089772"/>
            <a:ext cx="3083165" cy="481727"/>
          </a:xfrm>
          <a:prstGeom prst="rect">
            <a:avLst/>
          </a:prstGeom>
        </p:spPr>
        <p:txBody>
          <a:bodyPr vert="horz" lIns="96663" tIns="48332" rIns="96663" bIns="48332" rtlCol="0" anchor="b"/>
          <a:lstStyle>
            <a:lvl1pPr algn="l">
              <a:defRPr sz="1500"/>
            </a:lvl1pPr>
          </a:lstStyle>
          <a:p>
            <a:endParaRPr lang="en-US" dirty="0"/>
          </a:p>
        </p:txBody>
      </p:sp>
      <p:sp>
        <p:nvSpPr>
          <p:cNvPr id="7" name="Slide Number Placeholder 6"/>
          <p:cNvSpPr>
            <a:spLocks noGrp="1"/>
          </p:cNvSpPr>
          <p:nvPr>
            <p:ph type="sldNum" sz="quarter" idx="5"/>
          </p:nvPr>
        </p:nvSpPr>
        <p:spPr>
          <a:xfrm>
            <a:off x="4143590" y="9089772"/>
            <a:ext cx="3073358" cy="481727"/>
          </a:xfrm>
          <a:prstGeom prst="rect">
            <a:avLst/>
          </a:prstGeom>
        </p:spPr>
        <p:txBody>
          <a:bodyPr vert="horz" lIns="96663" tIns="48332" rIns="96663" bIns="48332" rtlCol="0" anchor="b"/>
          <a:lstStyle>
            <a:lvl1pPr algn="r">
              <a:defRPr sz="15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73153" y="4901035"/>
            <a:ext cx="6750356" cy="3917943"/>
          </a:xfrm>
          <a:prstGeom prst="rect">
            <a:avLst/>
          </a:prstGeom>
        </p:spPr>
        <p:txBody>
          <a:bodyPr vert="horz" lIns="96663" tIns="48332" rIns="96663" bIns="48332"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4143832" y="0"/>
            <a:ext cx="3169698" cy="481875"/>
          </a:xfrm>
          <a:prstGeom prst="rect">
            <a:avLst/>
          </a:prstGeom>
        </p:spPr>
        <p:txBody>
          <a:bodyPr vert="horz" lIns="95564" tIns="47782" rIns="95564" bIns="47782" rtlCol="0"/>
          <a:lstStyle>
            <a:lvl1pPr algn="r">
              <a:defRPr sz="1300"/>
            </a:lvl1pPr>
          </a:lstStyle>
          <a:p>
            <a:fld id="{F2C7CF5F-7CF3-4DF3-838A-EE34544862CC}" type="datetimeFigureOut">
              <a:rPr lang="en-US" smtClean="0"/>
              <a:t>12/29/2025</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5" userDrawn="1">
          <p15:clr>
            <a:srgbClr val="F26B43"/>
          </p15:clr>
        </p15:guide>
        <p15:guide id="2" pos="230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316276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377B1-58F9-FDF3-311E-C9476E1038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6C7D5-9529-6EB7-C686-101002EFBAD0}"/>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37DC505E-193D-8CF0-233A-351694449C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44C26B-C437-257D-E77F-8E7D0B2E786A}"/>
              </a:ext>
            </a:extLst>
          </p:cNvPr>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4021268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1DCB9-79CC-DBE9-7F6E-1D730305A9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3BBDDA-63BB-1B10-4FE0-1E8B53E6F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73532A-249D-00CB-BB00-01641D6D6F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56209D4-847A-9300-E74E-61693AD53DC1}"/>
              </a:ext>
            </a:extLst>
          </p:cNvPr>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848539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AFEB8-21C9-62E5-ABAD-AB20C0234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DD94E2-8811-6DBD-C924-FD00DE3EA4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45D021-81E2-B13B-5EC0-8D72599EF20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8BDD38E-938B-F42B-E517-1D2B80229EE5}"/>
              </a:ext>
            </a:extLst>
          </p:cNvPr>
          <p:cNvSpPr>
            <a:spLocks noGrp="1"/>
          </p:cNvSpPr>
          <p:nvPr>
            <p:ph type="sldNum" sz="quarter" idx="5"/>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63014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E8728-71AF-C1D2-3F4A-05878B1685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2E48EE-6F5A-FDD2-66C0-566E9E5C3822}"/>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F160C08C-EE31-054A-3217-90ABF34641B6}"/>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A441F3F7-E182-8CEF-0EF6-AD0DB9C57855}"/>
              </a:ext>
            </a:extLst>
          </p:cNvPr>
          <p:cNvSpPr>
            <a:spLocks noGrp="1"/>
          </p:cNvSpPr>
          <p:nvPr>
            <p:ph type="sldNum" sz="quarter" idx="5"/>
          </p:nvPr>
        </p:nvSpPr>
        <p:spPr/>
        <p:txBody>
          <a:bodyPr/>
          <a:lstStyle/>
          <a:p>
            <a:r>
              <a:rPr lang="en-AU"/>
              <a:t>Notes view: </a:t>
            </a:r>
            <a:fld id="{128CEAFE-FA94-43E5-B0FF-D47E1CCDD1B4}" type="slidenum">
              <a:rPr lang="en-AU" smtClean="0"/>
              <a:pPr/>
              <a:t>5</a:t>
            </a:fld>
            <a:endParaRPr lang="en-AU"/>
          </a:p>
        </p:txBody>
      </p:sp>
    </p:spTree>
    <p:extLst>
      <p:ext uri="{BB962C8B-B14F-4D97-AF65-F5344CB8AC3E}">
        <p14:creationId xmlns:p14="http://schemas.microsoft.com/office/powerpoint/2010/main" val="1697732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9D4C8-E79B-B48E-7D84-F3C11D58F9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7BACDD-2947-1688-8516-CC8463C5CA13}"/>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83364806-9D94-D06B-8B83-65DCD0C36F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7C3778-39C5-4CD4-1E8C-15D7AE64E45C}"/>
              </a:ext>
            </a:extLst>
          </p:cNvPr>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2465368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13" name="Picture 12"/>
          <p:cNvPicPr>
            <a:picLocks noChangeAspect="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2615" y="5779879"/>
            <a:ext cx="2508398" cy="595924"/>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10" name="Picture 9"/>
          <p:cNvPicPr>
            <a:picLocks noChangeAspect="1"/>
          </p:cNvPicPr>
          <p:nvPr userDrawn="1"/>
        </p:nvPicPr>
        <p:blipFill>
          <a:blip r:embed="rId7">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2023482" y="2756671"/>
            <a:ext cx="5340109" cy="1268658"/>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6" name="Picture 15"/>
          <p:cNvPicPr>
            <a:picLocks noChangeAspect="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2615" y="5779879"/>
            <a:ext cx="2508398" cy="595924"/>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7" name="Picture 6"/>
          <p:cNvPicPr>
            <a:picLocks noChangeAspect="1"/>
          </p:cNvPicPr>
          <p:nvPr userDrawn="1"/>
        </p:nvPicPr>
        <p:blipFill>
          <a:blip r:embed="rId7">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2023482" y="2756671"/>
            <a:ext cx="5340109" cy="1268658"/>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2/29/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5879103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Over Big Pictur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78BE441-76F6-2379-80B6-678D2D50442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78BE441-76F6-2379-80B6-678D2D50442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2A2E237-1024-24CF-E679-2E6DC040C72C}"/>
              </a:ext>
            </a:extLst>
          </p:cNvPr>
          <p:cNvPicPr>
            <a:picLocks noChangeAspect="1"/>
          </p:cNvPicPr>
          <p:nvPr userDrawn="1"/>
        </p:nvPicPr>
        <p:blipFill>
          <a:blip r:embed="rId5">
            <a:alphaModFix amt="39000"/>
          </a:blip>
          <a:stretch>
            <a:fillRect/>
          </a:stretch>
        </p:blipFill>
        <p:spPr>
          <a:xfrm>
            <a:off x="0" y="0"/>
            <a:ext cx="12192000" cy="6568965"/>
          </a:xfrm>
          <a:prstGeom prst="rect">
            <a:avLst/>
          </a:prstGeom>
        </p:spPr>
      </p:pic>
      <p:sp>
        <p:nvSpPr>
          <p:cNvPr id="7" name="Picture Placeholder 4">
            <a:extLst>
              <a:ext uri="{FF2B5EF4-FFF2-40B4-BE49-F238E27FC236}">
                <a16:creationId xmlns:a16="http://schemas.microsoft.com/office/drawing/2014/main" id="{CA011DB5-F008-CD27-5402-B920F63111C3}"/>
              </a:ext>
            </a:extLst>
          </p:cNvPr>
          <p:cNvSpPr>
            <a:spLocks noGrp="1"/>
          </p:cNvSpPr>
          <p:nvPr>
            <p:ph type="pic" sz="quarter" idx="14"/>
          </p:nvPr>
        </p:nvSpPr>
        <p:spPr>
          <a:xfrm>
            <a:off x="0" y="0"/>
            <a:ext cx="12192000" cy="6559826"/>
          </a:xfrm>
          <a:prstGeom prst="rect">
            <a:avLst/>
          </a:prstGeom>
        </p:spPr>
        <p:txBody>
          <a:bodyPr anchor="ctr"/>
          <a:lstStyle>
            <a:lvl1pPr algn="ctr">
              <a:defRPr>
                <a:latin typeface="Henderson BCG Sans Light" panose="020B0302030402020204" pitchFamily="34" charset="0"/>
                <a:cs typeface="Henderson BCG Sans Light" panose="020B0302030402020204" pitchFamily="34" charset="0"/>
              </a:defRPr>
            </a:lvl1pPr>
          </a:lstStyle>
          <a:p>
            <a:endParaRPr lang="en-US"/>
          </a:p>
        </p:txBody>
      </p:sp>
      <p:sp>
        <p:nvSpPr>
          <p:cNvPr id="4" name="Text Placeholder 4">
            <a:extLst>
              <a:ext uri="{FF2B5EF4-FFF2-40B4-BE49-F238E27FC236}">
                <a16:creationId xmlns:a16="http://schemas.microsoft.com/office/drawing/2014/main" id="{9FE6493A-5CD6-4B42-6295-3F884E7DFAD3}"/>
              </a:ext>
            </a:extLst>
          </p:cNvPr>
          <p:cNvSpPr>
            <a:spLocks noGrp="1"/>
          </p:cNvSpPr>
          <p:nvPr>
            <p:ph type="body" sz="quarter" idx="11" hasCustomPrompt="1"/>
          </p:nvPr>
        </p:nvSpPr>
        <p:spPr>
          <a:xfrm>
            <a:off x="1108366" y="1703503"/>
            <a:ext cx="9975273" cy="1846659"/>
          </a:xfrm>
          <a:prstGeom prst="rect">
            <a:avLst/>
          </a:prstGeom>
        </p:spPr>
        <p:txBody>
          <a:bodyPr wrap="square">
            <a:spAutoFit/>
          </a:bodyPr>
          <a:lstStyle>
            <a:lvl1pPr algn="l">
              <a:lnSpc>
                <a:spcPct val="100000"/>
              </a:lnSpc>
              <a:spcBef>
                <a:spcPct val="0"/>
              </a:spcBef>
              <a:spcAft>
                <a:spcPct val="0"/>
              </a:spcAft>
              <a:buNone/>
              <a:defRPr sz="6000" b="1" i="0" spc="300">
                <a:solidFill>
                  <a:schemeClr val="bg1"/>
                </a:solidFill>
                <a:latin typeface="+mn-lt"/>
                <a:ea typeface="+mn-ea"/>
                <a:cs typeface="+mn-cs"/>
                <a:sym typeface="+mn-lt"/>
              </a:defRPr>
            </a:lvl1pPr>
            <a:lvl2pPr>
              <a:defRPr sz="4000">
                <a:solidFill>
                  <a:srgbClr val="FFFFFF"/>
                </a:solidFill>
                <a:latin typeface="Termina Heavy" panose="00000900000000000000" pitchFamily="50" charset="0"/>
              </a:defRPr>
            </a:lvl2pPr>
            <a:lvl3pPr>
              <a:defRPr sz="4000">
                <a:solidFill>
                  <a:srgbClr val="FFFFFF"/>
                </a:solidFill>
                <a:latin typeface="Termina Heavy" panose="00000900000000000000" pitchFamily="50" charset="0"/>
              </a:defRPr>
            </a:lvl3pPr>
            <a:lvl4pPr>
              <a:defRPr sz="4000">
                <a:solidFill>
                  <a:srgbClr val="FFFFFF"/>
                </a:solidFill>
                <a:latin typeface="Termina Heavy" panose="00000900000000000000" pitchFamily="50" charset="0"/>
              </a:defRPr>
            </a:lvl4pPr>
            <a:lvl5pPr>
              <a:defRPr sz="4000">
                <a:solidFill>
                  <a:srgbClr val="FFFFFF"/>
                </a:solidFill>
                <a:latin typeface="Termina Heavy" panose="00000900000000000000" pitchFamily="50" charset="0"/>
              </a:defRPr>
            </a:lvl5pPr>
          </a:lstStyle>
          <a:p>
            <a:pPr lvl="0"/>
            <a:r>
              <a:rPr lang="en-US"/>
              <a:t>FULL WIDTH</a:t>
            </a:r>
          </a:p>
          <a:p>
            <a:pPr lvl="0"/>
            <a:r>
              <a:rPr lang="en-US"/>
              <a:t>TITLE WITH</a:t>
            </a:r>
          </a:p>
        </p:txBody>
      </p:sp>
      <p:sp>
        <p:nvSpPr>
          <p:cNvPr id="6" name="TextBox 5">
            <a:extLst>
              <a:ext uri="{FF2B5EF4-FFF2-40B4-BE49-F238E27FC236}">
                <a16:creationId xmlns:a16="http://schemas.microsoft.com/office/drawing/2014/main" id="{B15B7B41-3956-1289-B2F1-3E3B49FE243A}"/>
              </a:ext>
            </a:extLst>
          </p:cNvPr>
          <p:cNvSpPr txBox="1"/>
          <p:nvPr userDrawn="1"/>
        </p:nvSpPr>
        <p:spPr>
          <a:xfrm flipH="1">
            <a:off x="3975652" y="556591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sz="1200" err="1">
              <a:solidFill>
                <a:srgbClr val="6C6C6C"/>
              </a:solidFill>
              <a:latin typeface="+mn-lt"/>
              <a:ea typeface="+mn-ea"/>
              <a:cs typeface="+mn-cs"/>
            </a:endParaRPr>
          </a:p>
        </p:txBody>
      </p:sp>
      <p:sp>
        <p:nvSpPr>
          <p:cNvPr id="2" name="Text Placeholder 4">
            <a:extLst>
              <a:ext uri="{FF2B5EF4-FFF2-40B4-BE49-F238E27FC236}">
                <a16:creationId xmlns:a16="http://schemas.microsoft.com/office/drawing/2014/main" id="{438EFDBA-FDA2-1F9A-AE77-FE41AE02AF93}"/>
              </a:ext>
            </a:extLst>
          </p:cNvPr>
          <p:cNvSpPr>
            <a:spLocks noGrp="1"/>
          </p:cNvSpPr>
          <p:nvPr>
            <p:ph type="body" sz="quarter" idx="15" hasCustomPrompt="1"/>
          </p:nvPr>
        </p:nvSpPr>
        <p:spPr>
          <a:xfrm>
            <a:off x="1108363" y="3550162"/>
            <a:ext cx="9975273" cy="923330"/>
          </a:xfrm>
          <a:prstGeom prst="rect">
            <a:avLst/>
          </a:prstGeom>
        </p:spPr>
        <p:txBody>
          <a:bodyPr wrap="square">
            <a:spAutoFit/>
          </a:bodyPr>
          <a:lstStyle>
            <a:lvl1pPr algn="l">
              <a:lnSpc>
                <a:spcPct val="100000"/>
              </a:lnSpc>
              <a:spcBef>
                <a:spcPct val="0"/>
              </a:spcBef>
              <a:spcAft>
                <a:spcPct val="0"/>
              </a:spcAft>
              <a:buNone/>
              <a:defRPr sz="6000" b="1" i="0" spc="300">
                <a:solidFill>
                  <a:schemeClr val="bg1"/>
                </a:solidFill>
                <a:latin typeface="+mn-lt"/>
                <a:ea typeface="+mn-ea"/>
                <a:cs typeface="+mn-cs"/>
                <a:sym typeface="+mn-lt"/>
              </a:defRPr>
            </a:lvl1pPr>
            <a:lvl2pPr>
              <a:defRPr sz="4000">
                <a:solidFill>
                  <a:srgbClr val="FFFFFF"/>
                </a:solidFill>
                <a:latin typeface="Termina Heavy" panose="00000900000000000000" pitchFamily="50" charset="0"/>
              </a:defRPr>
            </a:lvl2pPr>
            <a:lvl3pPr>
              <a:defRPr sz="4000">
                <a:solidFill>
                  <a:srgbClr val="FFFFFF"/>
                </a:solidFill>
                <a:latin typeface="Termina Heavy" panose="00000900000000000000" pitchFamily="50" charset="0"/>
              </a:defRPr>
            </a:lvl3pPr>
            <a:lvl4pPr>
              <a:defRPr sz="4000">
                <a:solidFill>
                  <a:srgbClr val="FFFFFF"/>
                </a:solidFill>
                <a:latin typeface="Termina Heavy" panose="00000900000000000000" pitchFamily="50" charset="0"/>
              </a:defRPr>
            </a:lvl4pPr>
            <a:lvl5pPr>
              <a:defRPr sz="4000">
                <a:solidFill>
                  <a:srgbClr val="FFFFFF"/>
                </a:solidFill>
                <a:latin typeface="Termina Heavy" panose="00000900000000000000" pitchFamily="50" charset="0"/>
              </a:defRPr>
            </a:lvl5pPr>
          </a:lstStyle>
          <a:p>
            <a:pPr lvl="0"/>
            <a:r>
              <a:rPr lang="en-US"/>
              <a:t>BOLD WORD</a:t>
            </a:r>
          </a:p>
        </p:txBody>
      </p:sp>
      <p:sp>
        <p:nvSpPr>
          <p:cNvPr id="8" name="Text Placeholder 4">
            <a:extLst>
              <a:ext uri="{FF2B5EF4-FFF2-40B4-BE49-F238E27FC236}">
                <a16:creationId xmlns:a16="http://schemas.microsoft.com/office/drawing/2014/main" id="{EC204983-91B2-4710-07E3-7B279C16183F}"/>
              </a:ext>
            </a:extLst>
          </p:cNvPr>
          <p:cNvSpPr>
            <a:spLocks noGrp="1"/>
          </p:cNvSpPr>
          <p:nvPr>
            <p:ph type="body" sz="quarter" idx="16" hasCustomPrompt="1"/>
          </p:nvPr>
        </p:nvSpPr>
        <p:spPr>
          <a:xfrm>
            <a:off x="1108363" y="4473492"/>
            <a:ext cx="9975273" cy="923330"/>
          </a:xfrm>
          <a:prstGeom prst="rect">
            <a:avLst/>
          </a:prstGeom>
        </p:spPr>
        <p:txBody>
          <a:bodyPr wrap="square">
            <a:spAutoFit/>
          </a:bodyPr>
          <a:lstStyle>
            <a:lvl1pPr algn="l">
              <a:lnSpc>
                <a:spcPct val="100000"/>
              </a:lnSpc>
              <a:spcBef>
                <a:spcPct val="0"/>
              </a:spcBef>
              <a:spcAft>
                <a:spcPct val="0"/>
              </a:spcAft>
              <a:buNone/>
              <a:defRPr sz="6000" b="1" i="0" spc="300">
                <a:solidFill>
                  <a:schemeClr val="bg1"/>
                </a:solidFill>
                <a:latin typeface="+mn-lt"/>
                <a:ea typeface="+mn-ea"/>
                <a:cs typeface="+mn-cs"/>
                <a:sym typeface="+mn-lt"/>
              </a:defRPr>
            </a:lvl1pPr>
            <a:lvl2pPr>
              <a:defRPr sz="4000">
                <a:solidFill>
                  <a:srgbClr val="FFFFFF"/>
                </a:solidFill>
                <a:latin typeface="Termina Heavy" panose="00000900000000000000" pitchFamily="50" charset="0"/>
              </a:defRPr>
            </a:lvl2pPr>
            <a:lvl3pPr>
              <a:defRPr sz="4000">
                <a:solidFill>
                  <a:srgbClr val="FFFFFF"/>
                </a:solidFill>
                <a:latin typeface="Termina Heavy" panose="00000900000000000000" pitchFamily="50" charset="0"/>
              </a:defRPr>
            </a:lvl3pPr>
            <a:lvl4pPr>
              <a:defRPr sz="4000">
                <a:solidFill>
                  <a:srgbClr val="FFFFFF"/>
                </a:solidFill>
                <a:latin typeface="Termina Heavy" panose="00000900000000000000" pitchFamily="50" charset="0"/>
              </a:defRPr>
            </a:lvl4pPr>
            <a:lvl5pPr>
              <a:defRPr sz="4000">
                <a:solidFill>
                  <a:srgbClr val="FFFFFF"/>
                </a:solidFill>
                <a:latin typeface="Termina Heavy" panose="00000900000000000000" pitchFamily="50" charset="0"/>
              </a:defRPr>
            </a:lvl5pPr>
          </a:lstStyle>
          <a:p>
            <a:pPr lvl="0"/>
            <a:r>
              <a:rPr lang="en-US"/>
              <a:t>AND MORE TEXT</a:t>
            </a:r>
          </a:p>
        </p:txBody>
      </p:sp>
      <p:sp>
        <p:nvSpPr>
          <p:cNvPr id="9" name="Text Placeholder 4">
            <a:extLst>
              <a:ext uri="{FF2B5EF4-FFF2-40B4-BE49-F238E27FC236}">
                <a16:creationId xmlns:a16="http://schemas.microsoft.com/office/drawing/2014/main" id="{42B85184-8CAA-AC1D-D827-9EAC1932C9BC}"/>
              </a:ext>
            </a:extLst>
          </p:cNvPr>
          <p:cNvSpPr>
            <a:spLocks noGrp="1"/>
          </p:cNvSpPr>
          <p:nvPr>
            <p:ph type="body" sz="quarter" idx="17" hasCustomPrompt="1"/>
          </p:nvPr>
        </p:nvSpPr>
        <p:spPr>
          <a:xfrm>
            <a:off x="1108364" y="658880"/>
            <a:ext cx="9975273" cy="923330"/>
          </a:xfrm>
          <a:prstGeom prst="rect">
            <a:avLst/>
          </a:prstGeom>
        </p:spPr>
        <p:txBody>
          <a:bodyPr wrap="square">
            <a:spAutoFit/>
          </a:bodyPr>
          <a:lstStyle>
            <a:lvl1pPr algn="l">
              <a:lnSpc>
                <a:spcPct val="100000"/>
              </a:lnSpc>
              <a:spcBef>
                <a:spcPct val="0"/>
              </a:spcBef>
              <a:spcAft>
                <a:spcPct val="0"/>
              </a:spcAft>
              <a:buNone/>
              <a:defRPr sz="6000" b="0" i="0" spc="300">
                <a:solidFill>
                  <a:schemeClr val="bg1"/>
                </a:solidFill>
                <a:latin typeface="+mn-lt"/>
                <a:ea typeface="+mn-ea"/>
                <a:cs typeface="+mn-cs"/>
                <a:sym typeface="+mn-lt"/>
              </a:defRPr>
            </a:lvl1pPr>
            <a:lvl2pPr>
              <a:defRPr sz="4000">
                <a:solidFill>
                  <a:srgbClr val="FFFFFF"/>
                </a:solidFill>
                <a:latin typeface="Termina Heavy" panose="00000900000000000000" pitchFamily="50" charset="0"/>
              </a:defRPr>
            </a:lvl2pPr>
            <a:lvl3pPr>
              <a:defRPr sz="4000">
                <a:solidFill>
                  <a:srgbClr val="FFFFFF"/>
                </a:solidFill>
                <a:latin typeface="Termina Heavy" panose="00000900000000000000" pitchFamily="50" charset="0"/>
              </a:defRPr>
            </a:lvl3pPr>
            <a:lvl4pPr>
              <a:defRPr sz="4000">
                <a:solidFill>
                  <a:srgbClr val="FFFFFF"/>
                </a:solidFill>
                <a:latin typeface="Termina Heavy" panose="00000900000000000000" pitchFamily="50" charset="0"/>
              </a:defRPr>
            </a:lvl4pPr>
            <a:lvl5pPr>
              <a:defRPr sz="4000">
                <a:solidFill>
                  <a:srgbClr val="FFFFFF"/>
                </a:solidFill>
                <a:latin typeface="Termina Heavy" panose="00000900000000000000" pitchFamily="50" charset="0"/>
              </a:defRPr>
            </a:lvl5pPr>
          </a:lstStyle>
          <a:p>
            <a:pPr lvl="0"/>
            <a:r>
              <a:rPr lang="en-US"/>
              <a:t>#1</a:t>
            </a:r>
          </a:p>
        </p:txBody>
      </p:sp>
      <p:sp>
        <p:nvSpPr>
          <p:cNvPr id="5" name="Picture Placeholder 4">
            <a:extLst>
              <a:ext uri="{FF2B5EF4-FFF2-40B4-BE49-F238E27FC236}">
                <a16:creationId xmlns:a16="http://schemas.microsoft.com/office/drawing/2014/main" id="{0F011471-EA89-41EB-6344-8C60CE87ACC6}"/>
              </a:ext>
            </a:extLst>
          </p:cNvPr>
          <p:cNvSpPr>
            <a:spLocks noGrp="1"/>
          </p:cNvSpPr>
          <p:nvPr>
            <p:ph type="pic" sz="quarter" idx="18"/>
          </p:nvPr>
        </p:nvSpPr>
        <p:spPr>
          <a:xfrm>
            <a:off x="152400" y="152400"/>
            <a:ext cx="12192000" cy="6559826"/>
          </a:xfrm>
          <a:prstGeom prst="rect">
            <a:avLst/>
          </a:prstGeom>
        </p:spPr>
        <p:txBody>
          <a:bodyPr anchor="ctr"/>
          <a:lstStyle>
            <a:lvl1pPr algn="ctr">
              <a:defRPr>
                <a:latin typeface="Henderson BCG Sans Light" panose="020B0302030402020204" pitchFamily="34" charset="0"/>
                <a:cs typeface="Henderson BCG Sans Light" panose="020B0302030402020204" pitchFamily="34" charset="0"/>
              </a:defRPr>
            </a:lvl1pPr>
          </a:lstStyle>
          <a:p>
            <a:endParaRPr lang="en-US"/>
          </a:p>
        </p:txBody>
      </p:sp>
    </p:spTree>
    <p:extLst>
      <p:ext uri="{BB962C8B-B14F-4D97-AF65-F5344CB8AC3E}">
        <p14:creationId xmlns:p14="http://schemas.microsoft.com/office/powerpoint/2010/main" val="3027916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774885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 id="214748518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jp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jpe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17.png"/><Relationship Id="rId4" Type="http://schemas.openxmlformats.org/officeDocument/2006/relationships/image" Target="../media/image24.emf"/></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5.xml"/><Relationship Id="rId7" Type="http://schemas.openxmlformats.org/officeDocument/2006/relationships/oleObject" Target="../embeddings/oleObject20.bin"/><Relationship Id="rId2" Type="http://schemas.openxmlformats.org/officeDocument/2006/relationships/slideLayout" Target="../slideLayouts/slideLayout55.xml"/><Relationship Id="rId1" Type="http://schemas.openxmlformats.org/officeDocument/2006/relationships/tags" Target="../tags/tag30.xml"/><Relationship Id="rId6" Type="http://schemas.openxmlformats.org/officeDocument/2006/relationships/image" Target="../media/image27.emf"/><Relationship Id="rId5" Type="http://schemas.openxmlformats.org/officeDocument/2006/relationships/oleObject" Target="../embeddings/oleObject19.bin"/><Relationship Id="rId4" Type="http://schemas.openxmlformats.org/officeDocument/2006/relationships/image" Target="../media/image26.jpe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CAD9F3-8E58-3F4E-03B1-C814AFDFA0B9}"/>
              </a:ext>
            </a:extLst>
          </p:cNvPr>
          <p:cNvPicPr>
            <a:picLocks noChangeAspect="1"/>
          </p:cNvPicPr>
          <p:nvPr/>
        </p:nvPicPr>
        <p:blipFill>
          <a:blip r:embed="rId3"/>
          <a:srcRect l="204" t="23147" b="11860"/>
          <a:stretch>
            <a:fillRect/>
          </a:stretch>
        </p:blipFill>
        <p:spPr>
          <a:xfrm>
            <a:off x="0" y="0"/>
            <a:ext cx="12192000" cy="5293441"/>
          </a:xfrm>
          <a:prstGeom prst="rect">
            <a:avLst/>
          </a:prstGeom>
        </p:spPr>
      </p:pic>
      <p:sp>
        <p:nvSpPr>
          <p:cNvPr id="9" name="Rectangle 8">
            <a:extLst>
              <a:ext uri="{FF2B5EF4-FFF2-40B4-BE49-F238E27FC236}">
                <a16:creationId xmlns:a16="http://schemas.microsoft.com/office/drawing/2014/main" id="{D0F21988-3D70-3431-023A-85BD98862D76}"/>
              </a:ext>
            </a:extLst>
          </p:cNvPr>
          <p:cNvSpPr/>
          <p:nvPr/>
        </p:nvSpPr>
        <p:spPr>
          <a:xfrm>
            <a:off x="0" y="0"/>
            <a:ext cx="12191999" cy="6858000"/>
          </a:xfrm>
          <a:prstGeom prst="rect">
            <a:avLst/>
          </a:prstGeom>
          <a:solidFill>
            <a:srgbClr val="000000">
              <a:alpha val="5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63" name="Object 62" hidden="1"/>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3" name="Object 6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TextBox 9">
            <a:extLst>
              <a:ext uri="{FF2B5EF4-FFF2-40B4-BE49-F238E27FC236}">
                <a16:creationId xmlns:a16="http://schemas.microsoft.com/office/drawing/2014/main" id="{AC3E1EB8-AC16-BE8E-5077-0B56EFBAA2A4}"/>
              </a:ext>
            </a:extLst>
          </p:cNvPr>
          <p:cNvSpPr txBox="1"/>
          <p:nvPr/>
        </p:nvSpPr>
        <p:spPr>
          <a:xfrm>
            <a:off x="0" y="5293442"/>
            <a:ext cx="12192000" cy="1564558"/>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pic>
        <p:nvPicPr>
          <p:cNvPr id="14" name="Picture 13">
            <a:extLst>
              <a:ext uri="{FF2B5EF4-FFF2-40B4-BE49-F238E27FC236}">
                <a16:creationId xmlns:a16="http://schemas.microsoft.com/office/drawing/2014/main" id="{E51641A7-1811-4C9A-5316-DEE551ABECCE}"/>
              </a:ext>
            </a:extLst>
          </p:cNvPr>
          <p:cNvPicPr>
            <a:picLocks noChangeAspect="1"/>
          </p:cNvPicPr>
          <p:nvPr/>
        </p:nvPicPr>
        <p:blipFill>
          <a:blip r:embed="rId6"/>
          <a:stretch>
            <a:fillRect/>
          </a:stretch>
        </p:blipFill>
        <p:spPr>
          <a:xfrm>
            <a:off x="8796803" y="5293442"/>
            <a:ext cx="3395197" cy="1564558"/>
          </a:xfrm>
          <a:prstGeom prst="rect">
            <a:avLst/>
          </a:prstGeom>
        </p:spPr>
      </p:pic>
      <p:sp>
        <p:nvSpPr>
          <p:cNvPr id="20" name="TextBox 19">
            <a:extLst>
              <a:ext uri="{FF2B5EF4-FFF2-40B4-BE49-F238E27FC236}">
                <a16:creationId xmlns:a16="http://schemas.microsoft.com/office/drawing/2014/main" id="{485BA845-D79C-7C8F-F887-E1C764C10C01}"/>
              </a:ext>
            </a:extLst>
          </p:cNvPr>
          <p:cNvSpPr txBox="1"/>
          <p:nvPr/>
        </p:nvSpPr>
        <p:spPr>
          <a:xfrm>
            <a:off x="635818" y="632805"/>
            <a:ext cx="8136041" cy="5528592"/>
          </a:xfrm>
          <a:prstGeom prst="rect">
            <a:avLst/>
          </a:prstGeom>
          <a:solidFill>
            <a:srgbClr val="63666A">
              <a:alpha val="8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chemeClr val="tx1">
                    <a:lumMod val="50000"/>
                  </a:schemeClr>
                </a:solidFill>
              </a:defRPr>
            </a:lvl1pPr>
          </a:lstStyle>
          <a:p>
            <a:endParaRPr lang="en-US" dirty="0"/>
          </a:p>
        </p:txBody>
      </p:sp>
      <p:sp>
        <p:nvSpPr>
          <p:cNvPr id="21" name="Text Placeholder 12">
            <a:extLst>
              <a:ext uri="{FF2B5EF4-FFF2-40B4-BE49-F238E27FC236}">
                <a16:creationId xmlns:a16="http://schemas.microsoft.com/office/drawing/2014/main" id="{078CB8C9-B329-AC25-2233-B4C4C254C6B9}"/>
              </a:ext>
            </a:extLst>
          </p:cNvPr>
          <p:cNvSpPr txBox="1">
            <a:spLocks/>
          </p:cNvSpPr>
          <p:nvPr/>
        </p:nvSpPr>
        <p:spPr>
          <a:xfrm>
            <a:off x="1117415" y="6207842"/>
            <a:ext cx="6868800" cy="32714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US" dirty="0">
                <a:solidFill>
                  <a:srgbClr val="FFFFFF"/>
                </a:solidFill>
              </a:rPr>
              <a:t>March025</a:t>
            </a:r>
          </a:p>
        </p:txBody>
      </p:sp>
      <p:sp>
        <p:nvSpPr>
          <p:cNvPr id="22" name="Subtitle 11">
            <a:extLst>
              <a:ext uri="{FF2B5EF4-FFF2-40B4-BE49-F238E27FC236}">
                <a16:creationId xmlns:a16="http://schemas.microsoft.com/office/drawing/2014/main" id="{6118AC92-34FB-E7C6-D5F2-6684BCC0A6F9}"/>
              </a:ext>
            </a:extLst>
          </p:cNvPr>
          <p:cNvSpPr txBox="1">
            <a:spLocks/>
          </p:cNvSpPr>
          <p:nvPr/>
        </p:nvSpPr>
        <p:spPr>
          <a:xfrm>
            <a:off x="1117415" y="5495706"/>
            <a:ext cx="6868800" cy="43619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US" sz="1600" dirty="0">
                <a:solidFill>
                  <a:srgbClr val="FFFFFF"/>
                </a:solidFill>
                <a:latin typeface="Gill Sans MT" panose="020B0502020104020203" pitchFamily="34" charset="0"/>
              </a:rPr>
              <a:t>BSU Incorporated</a:t>
            </a:r>
          </a:p>
        </p:txBody>
      </p:sp>
      <p:sp>
        <p:nvSpPr>
          <p:cNvPr id="25" name="Title 10">
            <a:extLst>
              <a:ext uri="{FF2B5EF4-FFF2-40B4-BE49-F238E27FC236}">
                <a16:creationId xmlns:a16="http://schemas.microsoft.com/office/drawing/2014/main" id="{3B027A6B-2859-8123-D180-E439D5386EC9}"/>
              </a:ext>
            </a:extLst>
          </p:cNvPr>
          <p:cNvSpPr txBox="1">
            <a:spLocks/>
          </p:cNvSpPr>
          <p:nvPr/>
        </p:nvSpPr>
        <p:spPr>
          <a:xfrm>
            <a:off x="1117415" y="3955950"/>
            <a:ext cx="6868800" cy="11079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4400" dirty="0">
                <a:solidFill>
                  <a:srgbClr val="FFFFFF"/>
                </a:solidFill>
                <a:latin typeface="Gill Sans MT" panose="020B0502020104020203" pitchFamily="34" charset="0"/>
              </a:rPr>
              <a:t>Brochure </a:t>
            </a:r>
          </a:p>
          <a:p>
            <a:r>
              <a:rPr lang="en-US" sz="3600" dirty="0">
                <a:solidFill>
                  <a:srgbClr val="FFFFFF"/>
                </a:solidFill>
                <a:latin typeface="Gill Sans MT" panose="020B0502020104020203" pitchFamily="34" charset="0"/>
              </a:rPr>
              <a:t>Capabilities overview</a:t>
            </a:r>
          </a:p>
        </p:txBody>
      </p:sp>
      <p:sp>
        <p:nvSpPr>
          <p:cNvPr id="28" name="Text Placeholder 12">
            <a:extLst>
              <a:ext uri="{FF2B5EF4-FFF2-40B4-BE49-F238E27FC236}">
                <a16:creationId xmlns:a16="http://schemas.microsoft.com/office/drawing/2014/main" id="{5F216640-7A1D-4A7F-C2CC-74B4428716ED}"/>
              </a:ext>
            </a:extLst>
          </p:cNvPr>
          <p:cNvSpPr txBox="1">
            <a:spLocks/>
          </p:cNvSpPr>
          <p:nvPr/>
        </p:nvSpPr>
        <p:spPr>
          <a:xfrm>
            <a:off x="1117415" y="6222018"/>
            <a:ext cx="6868800" cy="32714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US" dirty="0">
                <a:latin typeface="Gill Sans MT" panose="020B0502020104020203" pitchFamily="34" charset="0"/>
              </a:rPr>
              <a:t>2025-2026</a:t>
            </a:r>
          </a:p>
        </p:txBody>
      </p:sp>
      <p:pic>
        <p:nvPicPr>
          <p:cNvPr id="2" name="Picture 1">
            <a:extLst>
              <a:ext uri="{FF2B5EF4-FFF2-40B4-BE49-F238E27FC236}">
                <a16:creationId xmlns:a16="http://schemas.microsoft.com/office/drawing/2014/main" id="{82DD4528-D69E-FDF1-153B-47EBF176A070}"/>
              </a:ext>
            </a:extLst>
          </p:cNvPr>
          <p:cNvPicPr>
            <a:picLocks noChangeAspect="1"/>
          </p:cNvPicPr>
          <p:nvPr/>
        </p:nvPicPr>
        <p:blipFill>
          <a:blip r:embed="rId7"/>
          <a:stretch>
            <a:fillRect/>
          </a:stretch>
        </p:blipFill>
        <p:spPr>
          <a:xfrm>
            <a:off x="10641221" y="5931901"/>
            <a:ext cx="1215221" cy="657415"/>
          </a:xfrm>
          <a:prstGeom prst="rect">
            <a:avLst/>
          </a:prstGeom>
        </p:spPr>
      </p:pic>
    </p:spTree>
    <p:extLst>
      <p:ext uri="{BB962C8B-B14F-4D97-AF65-F5344CB8AC3E}">
        <p14:creationId xmlns:p14="http://schemas.microsoft.com/office/powerpoint/2010/main" val="4274724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A2620-A292-4D25-82D0-13C2AB4489F9}"/>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B9103E94-B2F6-0D53-C535-32F5ED8A2D9C}"/>
              </a:ext>
            </a:extLst>
          </p:cNvPr>
          <p:cNvPicPr>
            <a:picLocks noChangeAspect="1"/>
          </p:cNvPicPr>
          <p:nvPr/>
        </p:nvPicPr>
        <p:blipFill>
          <a:blip r:embed="rId2"/>
          <a:srcRect t="23510" b="29991"/>
          <a:stretch>
            <a:fillRect/>
          </a:stretch>
        </p:blipFill>
        <p:spPr>
          <a:xfrm>
            <a:off x="0" y="985"/>
            <a:ext cx="12192000" cy="1665419"/>
          </a:xfrm>
          <a:prstGeom prst="rect">
            <a:avLst/>
          </a:prstGeom>
        </p:spPr>
      </p:pic>
      <p:sp>
        <p:nvSpPr>
          <p:cNvPr id="8" name="TextBox 7">
            <a:extLst>
              <a:ext uri="{FF2B5EF4-FFF2-40B4-BE49-F238E27FC236}">
                <a16:creationId xmlns:a16="http://schemas.microsoft.com/office/drawing/2014/main" id="{01E6F766-4093-AD25-3BA6-E767F9109362}"/>
              </a:ext>
            </a:extLst>
          </p:cNvPr>
          <p:cNvSpPr txBox="1"/>
          <p:nvPr/>
        </p:nvSpPr>
        <p:spPr>
          <a:xfrm>
            <a:off x="630237" y="2289319"/>
            <a:ext cx="1823451" cy="3700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200" dirty="0">
                <a:solidFill>
                  <a:schemeClr val="tx1">
                    <a:lumMod val="50000"/>
                  </a:schemeClr>
                </a:solidFill>
                <a:latin typeface="Gill Sans MT" panose="020B0502020104020203" pitchFamily="34" charset="0"/>
              </a:rPr>
              <a:t>About us</a:t>
            </a:r>
          </a:p>
        </p:txBody>
      </p:sp>
      <p:sp>
        <p:nvSpPr>
          <p:cNvPr id="9" name="TextBox 8">
            <a:extLst>
              <a:ext uri="{FF2B5EF4-FFF2-40B4-BE49-F238E27FC236}">
                <a16:creationId xmlns:a16="http://schemas.microsoft.com/office/drawing/2014/main" id="{D0E9CF54-9A0D-2FC0-5696-AE105C400483}"/>
              </a:ext>
            </a:extLst>
          </p:cNvPr>
          <p:cNvSpPr txBox="1"/>
          <p:nvPr/>
        </p:nvSpPr>
        <p:spPr>
          <a:xfrm>
            <a:off x="3161466" y="2394664"/>
            <a:ext cx="5315274" cy="2789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00"/>
              </a:spcAft>
              <a:buClr>
                <a:schemeClr val="bg1"/>
              </a:buClr>
            </a:pPr>
            <a:r>
              <a:rPr lang="en-US" dirty="0">
                <a:solidFill>
                  <a:schemeClr val="tx1">
                    <a:lumMod val="50000"/>
                  </a:schemeClr>
                </a:solidFill>
                <a:latin typeface="Gill Sans MT" panose="020B0502020104020203" pitchFamily="34" charset="0"/>
              </a:rPr>
              <a:t>36 years of continuous operations</a:t>
            </a:r>
          </a:p>
        </p:txBody>
      </p:sp>
      <p:sp>
        <p:nvSpPr>
          <p:cNvPr id="10" name="Freeform: Shape 9">
            <a:extLst>
              <a:ext uri="{FF2B5EF4-FFF2-40B4-BE49-F238E27FC236}">
                <a16:creationId xmlns:a16="http://schemas.microsoft.com/office/drawing/2014/main" id="{17AE4309-B2AE-C890-1D57-6FC4F9D1B83F}"/>
              </a:ext>
            </a:extLst>
          </p:cNvPr>
          <p:cNvSpPr/>
          <p:nvPr/>
        </p:nvSpPr>
        <p:spPr>
          <a:xfrm>
            <a:off x="8664387" y="1666405"/>
            <a:ext cx="3533364" cy="5200222"/>
          </a:xfrm>
          <a:custGeom>
            <a:avLst/>
            <a:gdLst>
              <a:gd name="connsiteX0" fmla="*/ 2838091 w 2846717"/>
              <a:gd name="connsiteY0" fmla="*/ 0 h 3286664"/>
              <a:gd name="connsiteX1" fmla="*/ 1199072 w 2846717"/>
              <a:gd name="connsiteY1" fmla="*/ 0 h 3286664"/>
              <a:gd name="connsiteX2" fmla="*/ 0 w 2846717"/>
              <a:gd name="connsiteY2" fmla="*/ 1233578 h 3286664"/>
              <a:gd name="connsiteX3" fmla="*/ 86264 w 2846717"/>
              <a:gd name="connsiteY3" fmla="*/ 3286664 h 3286664"/>
              <a:gd name="connsiteX4" fmla="*/ 2846717 w 2846717"/>
              <a:gd name="connsiteY4" fmla="*/ 3286664 h 3286664"/>
              <a:gd name="connsiteX5" fmla="*/ 2829464 w 2846717"/>
              <a:gd name="connsiteY5" fmla="*/ 69012 h 3286664"/>
              <a:gd name="connsiteX6" fmla="*/ 2838091 w 2846717"/>
              <a:gd name="connsiteY6" fmla="*/ 0 h 328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6717" h="3286664">
                <a:moveTo>
                  <a:pt x="2838091" y="0"/>
                </a:moveTo>
                <a:lnTo>
                  <a:pt x="1199072" y="0"/>
                </a:lnTo>
                <a:lnTo>
                  <a:pt x="0" y="1233578"/>
                </a:lnTo>
                <a:lnTo>
                  <a:pt x="86264" y="3286664"/>
                </a:lnTo>
                <a:lnTo>
                  <a:pt x="2846717" y="3286664"/>
                </a:lnTo>
                <a:lnTo>
                  <a:pt x="2829464" y="69012"/>
                </a:lnTo>
                <a:lnTo>
                  <a:pt x="2838091" y="0"/>
                </a:lnTo>
                <a:close/>
              </a:path>
            </a:pathLst>
          </a:cu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lumMod val="50000"/>
                </a:schemeClr>
              </a:solidFill>
            </a:endParaRPr>
          </a:p>
        </p:txBody>
      </p:sp>
      <p:pic>
        <p:nvPicPr>
          <p:cNvPr id="11" name="Picture 10">
            <a:extLst>
              <a:ext uri="{FF2B5EF4-FFF2-40B4-BE49-F238E27FC236}">
                <a16:creationId xmlns:a16="http://schemas.microsoft.com/office/drawing/2014/main" id="{ABD462D2-CE45-C5E1-4801-F19124E3C205}"/>
              </a:ext>
            </a:extLst>
          </p:cNvPr>
          <p:cNvPicPr>
            <a:picLocks noChangeAspect="1"/>
          </p:cNvPicPr>
          <p:nvPr/>
        </p:nvPicPr>
        <p:blipFill>
          <a:blip r:embed="rId3"/>
          <a:stretch>
            <a:fillRect/>
          </a:stretch>
        </p:blipFill>
        <p:spPr>
          <a:xfrm>
            <a:off x="9724599" y="2497852"/>
            <a:ext cx="1934661" cy="787507"/>
          </a:xfrm>
          <a:prstGeom prst="rect">
            <a:avLst/>
          </a:prstGeom>
        </p:spPr>
      </p:pic>
      <p:pic>
        <p:nvPicPr>
          <p:cNvPr id="12" name="Picture 11" descr="A red and white logo&#10;&#10;Description automatically generated with medium confidence">
            <a:extLst>
              <a:ext uri="{FF2B5EF4-FFF2-40B4-BE49-F238E27FC236}">
                <a16:creationId xmlns:a16="http://schemas.microsoft.com/office/drawing/2014/main" id="{E52E648B-4373-23F8-739C-A05D2CDCB44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4391" y="4816600"/>
            <a:ext cx="1640404" cy="762169"/>
          </a:xfrm>
          <a:prstGeom prst="rect">
            <a:avLst/>
          </a:prstGeom>
        </p:spPr>
      </p:pic>
      <p:pic>
        <p:nvPicPr>
          <p:cNvPr id="13" name="Picture 12" descr="Logo, company name&#10;&#10;Description automatically generated">
            <a:extLst>
              <a:ext uri="{FF2B5EF4-FFF2-40B4-BE49-F238E27FC236}">
                <a16:creationId xmlns:a16="http://schemas.microsoft.com/office/drawing/2014/main" id="{A055438A-660B-921F-4ABE-DCB70165CCC2}"/>
              </a:ext>
            </a:extLst>
          </p:cNvPr>
          <p:cNvPicPr>
            <a:picLocks noChangeAspect="1"/>
          </p:cNvPicPr>
          <p:nvPr/>
        </p:nvPicPr>
        <p:blipFill>
          <a:blip r:embed="rId5" cstate="print">
            <a:extLst>
              <a:ext uri="{28A0092B-C50C-407E-A947-70E740481C1C}">
                <a14:useLocalDpi xmlns:a14="http://schemas.microsoft.com/office/drawing/2010/main" val="0"/>
              </a:ext>
            </a:extLst>
          </a:blip>
          <a:srcRect l="5633" t="6659" r="4421" b="14883"/>
          <a:stretch>
            <a:fillRect/>
          </a:stretch>
        </p:blipFill>
        <p:spPr>
          <a:xfrm>
            <a:off x="10691929" y="4023684"/>
            <a:ext cx="1330736" cy="602234"/>
          </a:xfrm>
          <a:prstGeom prst="rect">
            <a:avLst/>
          </a:prstGeom>
        </p:spPr>
      </p:pic>
      <p:pic>
        <p:nvPicPr>
          <p:cNvPr id="14" name="Picture 13" descr="Logo, company name&#10;&#10;Description automatically generated">
            <a:extLst>
              <a:ext uri="{FF2B5EF4-FFF2-40B4-BE49-F238E27FC236}">
                <a16:creationId xmlns:a16="http://schemas.microsoft.com/office/drawing/2014/main" id="{324E2DF0-6FCA-5C35-2525-95B6273624A2}"/>
              </a:ext>
            </a:extLst>
          </p:cNvPr>
          <p:cNvPicPr>
            <a:picLocks noChangeAspect="1"/>
          </p:cNvPicPr>
          <p:nvPr/>
        </p:nvPicPr>
        <p:blipFill>
          <a:blip r:embed="rId6">
            <a:extLst>
              <a:ext uri="{28A0092B-C50C-407E-A947-70E740481C1C}">
                <a14:useLocalDpi xmlns:a14="http://schemas.microsoft.com/office/drawing/2010/main" val="0"/>
              </a:ext>
            </a:extLst>
          </a:blip>
          <a:srcRect l="11954" t="17885" r="10580" b="11403"/>
          <a:stretch>
            <a:fillRect/>
          </a:stretch>
        </p:blipFill>
        <p:spPr>
          <a:xfrm>
            <a:off x="10872788" y="5578769"/>
            <a:ext cx="1116796" cy="754375"/>
          </a:xfrm>
          <a:prstGeom prst="rect">
            <a:avLst/>
          </a:prstGeom>
        </p:spPr>
      </p:pic>
      <p:pic>
        <p:nvPicPr>
          <p:cNvPr id="15" name="Picture 14" descr="A picture containing text, clipart&#10;&#10;Description automatically generated">
            <a:extLst>
              <a:ext uri="{FF2B5EF4-FFF2-40B4-BE49-F238E27FC236}">
                <a16:creationId xmlns:a16="http://schemas.microsoft.com/office/drawing/2014/main" id="{DD6A796E-F6CB-CC2D-D6A7-A92A7437C48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2489" y="3592746"/>
            <a:ext cx="1278580" cy="681909"/>
          </a:xfrm>
          <a:prstGeom prst="rect">
            <a:avLst/>
          </a:prstGeom>
        </p:spPr>
      </p:pic>
      <p:sp>
        <p:nvSpPr>
          <p:cNvPr id="16" name="TextBox 15">
            <a:extLst>
              <a:ext uri="{FF2B5EF4-FFF2-40B4-BE49-F238E27FC236}">
                <a16:creationId xmlns:a16="http://schemas.microsoft.com/office/drawing/2014/main" id="{057FB20F-CC9E-29DD-C33D-2715C40F5518}"/>
              </a:ext>
            </a:extLst>
          </p:cNvPr>
          <p:cNvSpPr txBox="1"/>
          <p:nvPr/>
        </p:nvSpPr>
        <p:spPr>
          <a:xfrm>
            <a:off x="10258118" y="1743347"/>
            <a:ext cx="1934660" cy="2743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bg1"/>
              </a:buClr>
            </a:pPr>
            <a:r>
              <a:rPr lang="en-US" dirty="0">
                <a:solidFill>
                  <a:schemeClr val="tx1"/>
                </a:solidFill>
                <a:latin typeface="Gill Sans MT" panose="020B0502020104020203" pitchFamily="34" charset="0"/>
              </a:rPr>
              <a:t>Our certifications:</a:t>
            </a:r>
          </a:p>
        </p:txBody>
      </p:sp>
      <p:cxnSp>
        <p:nvCxnSpPr>
          <p:cNvPr id="19" name="Straight Connector 18">
            <a:extLst>
              <a:ext uri="{FF2B5EF4-FFF2-40B4-BE49-F238E27FC236}">
                <a16:creationId xmlns:a16="http://schemas.microsoft.com/office/drawing/2014/main" id="{F34D4E6D-0391-7340-3F66-DA5BAF4E077E}"/>
              </a:ext>
            </a:extLst>
          </p:cNvPr>
          <p:cNvCxnSpPr>
            <a:cxnSpLocks/>
          </p:cNvCxnSpPr>
          <p:nvPr/>
        </p:nvCxnSpPr>
        <p:spPr>
          <a:xfrm>
            <a:off x="2786539" y="1666404"/>
            <a:ext cx="0" cy="5191596"/>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88CA5F5-176F-A0AE-4EAD-CE09D7965C8D}"/>
              </a:ext>
            </a:extLst>
          </p:cNvPr>
          <p:cNvGrpSpPr/>
          <p:nvPr/>
        </p:nvGrpSpPr>
        <p:grpSpPr>
          <a:xfrm>
            <a:off x="2509933" y="2289318"/>
            <a:ext cx="545204" cy="545204"/>
            <a:chOff x="4476664" y="1093728"/>
            <a:chExt cx="966523" cy="966523"/>
          </a:xfrm>
        </p:grpSpPr>
        <p:sp>
          <p:nvSpPr>
            <p:cNvPr id="21" name="Oval 20">
              <a:extLst>
                <a:ext uri="{FF2B5EF4-FFF2-40B4-BE49-F238E27FC236}">
                  <a16:creationId xmlns:a16="http://schemas.microsoft.com/office/drawing/2014/main" id="{8065F4D2-F4FC-94C7-8E81-24A8EB4EA70C}"/>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22" name="Oval 21">
              <a:extLst>
                <a:ext uri="{FF2B5EF4-FFF2-40B4-BE49-F238E27FC236}">
                  <a16:creationId xmlns:a16="http://schemas.microsoft.com/office/drawing/2014/main" id="{24C00063-DDA7-741F-57D2-B4ECF5F697CB}"/>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23" name="Group 22">
              <a:extLst>
                <a:ext uri="{FF2B5EF4-FFF2-40B4-BE49-F238E27FC236}">
                  <a16:creationId xmlns:a16="http://schemas.microsoft.com/office/drawing/2014/main" id="{0A498D41-4086-6095-6C76-232F0167FBDA}"/>
                </a:ext>
              </a:extLst>
            </p:cNvPr>
            <p:cNvGrpSpPr>
              <a:grpSpLocks noChangeAspect="1"/>
            </p:cNvGrpSpPr>
            <p:nvPr/>
          </p:nvGrpSpPr>
          <p:grpSpPr>
            <a:xfrm>
              <a:off x="4712433" y="1329497"/>
              <a:ext cx="494985" cy="494985"/>
              <a:chOff x="982662" y="1847850"/>
              <a:chExt cx="269875" cy="269875"/>
            </a:xfrm>
          </p:grpSpPr>
          <p:sp>
            <p:nvSpPr>
              <p:cNvPr id="24" name="Oval 50">
                <a:extLst>
                  <a:ext uri="{FF2B5EF4-FFF2-40B4-BE49-F238E27FC236}">
                    <a16:creationId xmlns:a16="http://schemas.microsoft.com/office/drawing/2014/main" id="{6A9D72BF-1171-E676-C8D0-00DD9ABCB923}"/>
                  </a:ext>
                </a:extLst>
              </p:cNvPr>
              <p:cNvSpPr>
                <a:spLocks noChangeArrowheads="1"/>
              </p:cNvSpPr>
              <p:nvPr/>
            </p:nvSpPr>
            <p:spPr bwMode="auto">
              <a:xfrm>
                <a:off x="982662" y="1847850"/>
                <a:ext cx="269875" cy="269875"/>
              </a:xfrm>
              <a:prstGeom prst="ellipse">
                <a:avLst/>
              </a:prstGeom>
              <a:solidFill>
                <a:srgbClr val="B32122"/>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5" name="Freeform 51">
                <a:extLst>
                  <a:ext uri="{FF2B5EF4-FFF2-40B4-BE49-F238E27FC236}">
                    <a16:creationId xmlns:a16="http://schemas.microsoft.com/office/drawing/2014/main" id="{9EBF3C82-F21D-8DEC-7574-9F15EA4A5B2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26" name="Group 25">
            <a:extLst>
              <a:ext uri="{FF2B5EF4-FFF2-40B4-BE49-F238E27FC236}">
                <a16:creationId xmlns:a16="http://schemas.microsoft.com/office/drawing/2014/main" id="{40F9D893-3426-194F-E0D6-E79370E43EE3}"/>
              </a:ext>
            </a:extLst>
          </p:cNvPr>
          <p:cNvGrpSpPr/>
          <p:nvPr/>
        </p:nvGrpSpPr>
        <p:grpSpPr>
          <a:xfrm>
            <a:off x="2509933" y="3079535"/>
            <a:ext cx="545204" cy="545204"/>
            <a:chOff x="4476664" y="1093728"/>
            <a:chExt cx="966523" cy="966523"/>
          </a:xfrm>
        </p:grpSpPr>
        <p:sp>
          <p:nvSpPr>
            <p:cNvPr id="27" name="Oval 26">
              <a:extLst>
                <a:ext uri="{FF2B5EF4-FFF2-40B4-BE49-F238E27FC236}">
                  <a16:creationId xmlns:a16="http://schemas.microsoft.com/office/drawing/2014/main" id="{66E6FC09-2321-7FE0-ED41-549779A0A6E6}"/>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28" name="Oval 27">
              <a:extLst>
                <a:ext uri="{FF2B5EF4-FFF2-40B4-BE49-F238E27FC236}">
                  <a16:creationId xmlns:a16="http://schemas.microsoft.com/office/drawing/2014/main" id="{0EC12DDF-EF9A-8077-5EC0-E9D0F63D03A5}"/>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dirty="0">
                <a:solidFill>
                  <a:schemeClr val="tx1">
                    <a:lumMod val="50000"/>
                  </a:schemeClr>
                </a:solidFill>
              </a:endParaRPr>
            </a:p>
          </p:txBody>
        </p:sp>
        <p:grpSp>
          <p:nvGrpSpPr>
            <p:cNvPr id="29" name="Group 28">
              <a:extLst>
                <a:ext uri="{FF2B5EF4-FFF2-40B4-BE49-F238E27FC236}">
                  <a16:creationId xmlns:a16="http://schemas.microsoft.com/office/drawing/2014/main" id="{36776F49-87A0-F080-0293-79E5CDB56F76}"/>
                </a:ext>
              </a:extLst>
            </p:cNvPr>
            <p:cNvGrpSpPr>
              <a:grpSpLocks noChangeAspect="1"/>
            </p:cNvGrpSpPr>
            <p:nvPr/>
          </p:nvGrpSpPr>
          <p:grpSpPr>
            <a:xfrm>
              <a:off x="4712433" y="1329497"/>
              <a:ext cx="494985" cy="494985"/>
              <a:chOff x="982662" y="1847850"/>
              <a:chExt cx="269875" cy="269875"/>
            </a:xfrm>
          </p:grpSpPr>
          <p:sp>
            <p:nvSpPr>
              <p:cNvPr id="30" name="Oval 50">
                <a:extLst>
                  <a:ext uri="{FF2B5EF4-FFF2-40B4-BE49-F238E27FC236}">
                    <a16:creationId xmlns:a16="http://schemas.microsoft.com/office/drawing/2014/main" id="{F12E355C-F013-6CB7-92D1-0CF016589331}"/>
                  </a:ext>
                </a:extLst>
              </p:cNvPr>
              <p:cNvSpPr>
                <a:spLocks noChangeArrowheads="1"/>
              </p:cNvSpPr>
              <p:nvPr/>
            </p:nvSpPr>
            <p:spPr bwMode="auto">
              <a:xfrm>
                <a:off x="982662" y="1847850"/>
                <a:ext cx="269875" cy="269875"/>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31" name="Freeform 51">
                <a:extLst>
                  <a:ext uri="{FF2B5EF4-FFF2-40B4-BE49-F238E27FC236}">
                    <a16:creationId xmlns:a16="http://schemas.microsoft.com/office/drawing/2014/main" id="{3AA8FAEB-8CE2-2CB8-D0B6-19779D8CDCE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32" name="Group 31">
            <a:extLst>
              <a:ext uri="{FF2B5EF4-FFF2-40B4-BE49-F238E27FC236}">
                <a16:creationId xmlns:a16="http://schemas.microsoft.com/office/drawing/2014/main" id="{95DE980C-2079-BA0F-9EB9-07ACF946B73C}"/>
              </a:ext>
            </a:extLst>
          </p:cNvPr>
          <p:cNvGrpSpPr/>
          <p:nvPr/>
        </p:nvGrpSpPr>
        <p:grpSpPr>
          <a:xfrm>
            <a:off x="2500625" y="3867679"/>
            <a:ext cx="545204" cy="545204"/>
            <a:chOff x="4476664" y="1093728"/>
            <a:chExt cx="966523" cy="966523"/>
          </a:xfrm>
        </p:grpSpPr>
        <p:sp>
          <p:nvSpPr>
            <p:cNvPr id="33" name="Oval 32">
              <a:extLst>
                <a:ext uri="{FF2B5EF4-FFF2-40B4-BE49-F238E27FC236}">
                  <a16:creationId xmlns:a16="http://schemas.microsoft.com/office/drawing/2014/main" id="{2C2D4F6A-4124-654B-998C-8C9A4BB1FC22}"/>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34" name="Oval 33">
              <a:extLst>
                <a:ext uri="{FF2B5EF4-FFF2-40B4-BE49-F238E27FC236}">
                  <a16:creationId xmlns:a16="http://schemas.microsoft.com/office/drawing/2014/main" id="{D30DFFE0-8D60-3CCB-6008-8DBB0D2B3995}"/>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35" name="Group 34">
              <a:extLst>
                <a:ext uri="{FF2B5EF4-FFF2-40B4-BE49-F238E27FC236}">
                  <a16:creationId xmlns:a16="http://schemas.microsoft.com/office/drawing/2014/main" id="{095ED10C-A7A4-DC3B-9E92-F8A45D2F1BAA}"/>
                </a:ext>
              </a:extLst>
            </p:cNvPr>
            <p:cNvGrpSpPr>
              <a:grpSpLocks noChangeAspect="1"/>
            </p:cNvGrpSpPr>
            <p:nvPr/>
          </p:nvGrpSpPr>
          <p:grpSpPr>
            <a:xfrm>
              <a:off x="4712433" y="1329497"/>
              <a:ext cx="494985" cy="494985"/>
              <a:chOff x="982662" y="1847850"/>
              <a:chExt cx="269875" cy="269875"/>
            </a:xfrm>
          </p:grpSpPr>
          <p:sp>
            <p:nvSpPr>
              <p:cNvPr id="36" name="Oval 50">
                <a:extLst>
                  <a:ext uri="{FF2B5EF4-FFF2-40B4-BE49-F238E27FC236}">
                    <a16:creationId xmlns:a16="http://schemas.microsoft.com/office/drawing/2014/main" id="{3BF68507-CACB-C21A-0430-AB21051F2794}"/>
                  </a:ext>
                </a:extLst>
              </p:cNvPr>
              <p:cNvSpPr>
                <a:spLocks noChangeArrowheads="1"/>
              </p:cNvSpPr>
              <p:nvPr/>
            </p:nvSpPr>
            <p:spPr bwMode="auto">
              <a:xfrm>
                <a:off x="982662" y="1847850"/>
                <a:ext cx="269875" cy="269875"/>
              </a:xfrm>
              <a:prstGeom prst="ellipse">
                <a:avLst/>
              </a:prstGeom>
              <a:solidFill>
                <a:srgbClr val="B32122"/>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37" name="Freeform 51">
                <a:extLst>
                  <a:ext uri="{FF2B5EF4-FFF2-40B4-BE49-F238E27FC236}">
                    <a16:creationId xmlns:a16="http://schemas.microsoft.com/office/drawing/2014/main" id="{438310AC-52FF-AA09-F121-6BCE1C1FE29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38" name="Group 37">
            <a:extLst>
              <a:ext uri="{FF2B5EF4-FFF2-40B4-BE49-F238E27FC236}">
                <a16:creationId xmlns:a16="http://schemas.microsoft.com/office/drawing/2014/main" id="{EC2FF0FE-94DF-B9BE-990C-669CD79F2EE4}"/>
              </a:ext>
            </a:extLst>
          </p:cNvPr>
          <p:cNvGrpSpPr/>
          <p:nvPr/>
        </p:nvGrpSpPr>
        <p:grpSpPr>
          <a:xfrm>
            <a:off x="2509933" y="4656252"/>
            <a:ext cx="545204" cy="545204"/>
            <a:chOff x="4476664" y="1093728"/>
            <a:chExt cx="966523" cy="966523"/>
          </a:xfrm>
        </p:grpSpPr>
        <p:sp>
          <p:nvSpPr>
            <p:cNvPr id="39" name="Oval 38">
              <a:extLst>
                <a:ext uri="{FF2B5EF4-FFF2-40B4-BE49-F238E27FC236}">
                  <a16:creationId xmlns:a16="http://schemas.microsoft.com/office/drawing/2014/main" id="{623C45EB-03EC-95D9-E962-EAAC43638644}"/>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40" name="Oval 39">
              <a:extLst>
                <a:ext uri="{FF2B5EF4-FFF2-40B4-BE49-F238E27FC236}">
                  <a16:creationId xmlns:a16="http://schemas.microsoft.com/office/drawing/2014/main" id="{E2EA5A6C-838A-1C9F-1CBC-271204A53B15}"/>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dirty="0">
                <a:solidFill>
                  <a:schemeClr val="tx1">
                    <a:lumMod val="50000"/>
                  </a:schemeClr>
                </a:solidFill>
              </a:endParaRPr>
            </a:p>
          </p:txBody>
        </p:sp>
        <p:grpSp>
          <p:nvGrpSpPr>
            <p:cNvPr id="41" name="Group 40">
              <a:extLst>
                <a:ext uri="{FF2B5EF4-FFF2-40B4-BE49-F238E27FC236}">
                  <a16:creationId xmlns:a16="http://schemas.microsoft.com/office/drawing/2014/main" id="{95D7B72D-16AE-45A2-CF9E-C4DFD0A3B582}"/>
                </a:ext>
              </a:extLst>
            </p:cNvPr>
            <p:cNvGrpSpPr>
              <a:grpSpLocks noChangeAspect="1"/>
            </p:cNvGrpSpPr>
            <p:nvPr/>
          </p:nvGrpSpPr>
          <p:grpSpPr>
            <a:xfrm>
              <a:off x="4712433" y="1329497"/>
              <a:ext cx="494985" cy="494985"/>
              <a:chOff x="982662" y="1847850"/>
              <a:chExt cx="269875" cy="269875"/>
            </a:xfrm>
          </p:grpSpPr>
          <p:sp>
            <p:nvSpPr>
              <p:cNvPr id="42" name="Oval 50">
                <a:extLst>
                  <a:ext uri="{FF2B5EF4-FFF2-40B4-BE49-F238E27FC236}">
                    <a16:creationId xmlns:a16="http://schemas.microsoft.com/office/drawing/2014/main" id="{B952ADA0-5020-8CED-3D68-FC79AFFC8F92}"/>
                  </a:ext>
                </a:extLst>
              </p:cNvPr>
              <p:cNvSpPr>
                <a:spLocks noChangeArrowheads="1"/>
              </p:cNvSpPr>
              <p:nvPr/>
            </p:nvSpPr>
            <p:spPr bwMode="auto">
              <a:xfrm>
                <a:off x="982662" y="1847850"/>
                <a:ext cx="269875" cy="269875"/>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43" name="Freeform 51">
                <a:extLst>
                  <a:ext uri="{FF2B5EF4-FFF2-40B4-BE49-F238E27FC236}">
                    <a16:creationId xmlns:a16="http://schemas.microsoft.com/office/drawing/2014/main" id="{83E40A45-7C44-8632-7BEC-F1EFC2523CB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44" name="Group 43">
            <a:extLst>
              <a:ext uri="{FF2B5EF4-FFF2-40B4-BE49-F238E27FC236}">
                <a16:creationId xmlns:a16="http://schemas.microsoft.com/office/drawing/2014/main" id="{6692601C-4FFC-A341-946F-7227FB61E649}"/>
              </a:ext>
            </a:extLst>
          </p:cNvPr>
          <p:cNvGrpSpPr/>
          <p:nvPr/>
        </p:nvGrpSpPr>
        <p:grpSpPr>
          <a:xfrm>
            <a:off x="2509933" y="5444396"/>
            <a:ext cx="545204" cy="545204"/>
            <a:chOff x="4476664" y="1093728"/>
            <a:chExt cx="966523" cy="966523"/>
          </a:xfrm>
        </p:grpSpPr>
        <p:sp>
          <p:nvSpPr>
            <p:cNvPr id="45" name="Oval 44">
              <a:extLst>
                <a:ext uri="{FF2B5EF4-FFF2-40B4-BE49-F238E27FC236}">
                  <a16:creationId xmlns:a16="http://schemas.microsoft.com/office/drawing/2014/main" id="{98B8837B-0034-2469-34A7-86B343BCBBCC}"/>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46" name="Oval 45">
              <a:extLst>
                <a:ext uri="{FF2B5EF4-FFF2-40B4-BE49-F238E27FC236}">
                  <a16:creationId xmlns:a16="http://schemas.microsoft.com/office/drawing/2014/main" id="{56FAAA98-BC23-9926-857E-FB0C7F1A7461}"/>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47" name="Group 46">
              <a:extLst>
                <a:ext uri="{FF2B5EF4-FFF2-40B4-BE49-F238E27FC236}">
                  <a16:creationId xmlns:a16="http://schemas.microsoft.com/office/drawing/2014/main" id="{4C22B089-929B-90A2-E1BA-C1E47BC7BD1A}"/>
                </a:ext>
              </a:extLst>
            </p:cNvPr>
            <p:cNvGrpSpPr>
              <a:grpSpLocks noChangeAspect="1"/>
            </p:cNvGrpSpPr>
            <p:nvPr/>
          </p:nvGrpSpPr>
          <p:grpSpPr>
            <a:xfrm>
              <a:off x="4712433" y="1329497"/>
              <a:ext cx="494985" cy="494985"/>
              <a:chOff x="982662" y="1847850"/>
              <a:chExt cx="269875" cy="269875"/>
            </a:xfrm>
          </p:grpSpPr>
          <p:sp>
            <p:nvSpPr>
              <p:cNvPr id="48" name="Oval 50">
                <a:extLst>
                  <a:ext uri="{FF2B5EF4-FFF2-40B4-BE49-F238E27FC236}">
                    <a16:creationId xmlns:a16="http://schemas.microsoft.com/office/drawing/2014/main" id="{D9228BA8-CFFB-DB0A-9830-AB6EA8A2C63B}"/>
                  </a:ext>
                </a:extLst>
              </p:cNvPr>
              <p:cNvSpPr>
                <a:spLocks noChangeArrowheads="1"/>
              </p:cNvSpPr>
              <p:nvPr/>
            </p:nvSpPr>
            <p:spPr bwMode="auto">
              <a:xfrm>
                <a:off x="982662" y="1847850"/>
                <a:ext cx="269875" cy="269875"/>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49" name="Freeform 51">
                <a:extLst>
                  <a:ext uri="{FF2B5EF4-FFF2-40B4-BE49-F238E27FC236}">
                    <a16:creationId xmlns:a16="http://schemas.microsoft.com/office/drawing/2014/main" id="{933F7169-480E-9FC6-2CE4-310A987E190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sp>
        <p:nvSpPr>
          <p:cNvPr id="50" name="TextBox 49">
            <a:extLst>
              <a:ext uri="{FF2B5EF4-FFF2-40B4-BE49-F238E27FC236}">
                <a16:creationId xmlns:a16="http://schemas.microsoft.com/office/drawing/2014/main" id="{1D7EB2BE-C476-0677-B3CF-C1C69AD0A9F7}"/>
              </a:ext>
            </a:extLst>
          </p:cNvPr>
          <p:cNvSpPr txBox="1"/>
          <p:nvPr/>
        </p:nvSpPr>
        <p:spPr>
          <a:xfrm>
            <a:off x="3161466" y="3201099"/>
            <a:ext cx="5315274" cy="2789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00"/>
              </a:spcAft>
              <a:buClr>
                <a:schemeClr val="bg1"/>
              </a:buClr>
            </a:pPr>
            <a:r>
              <a:rPr lang="en-US" dirty="0">
                <a:solidFill>
                  <a:schemeClr val="tx1">
                    <a:lumMod val="50000"/>
                  </a:schemeClr>
                </a:solidFill>
                <a:latin typeface="Gill Sans MT" panose="020B0502020104020203" pitchFamily="34" charset="0"/>
              </a:rPr>
              <a:t>20k square feet of certified space</a:t>
            </a:r>
          </a:p>
        </p:txBody>
      </p:sp>
      <p:sp>
        <p:nvSpPr>
          <p:cNvPr id="51" name="TextBox 50">
            <a:extLst>
              <a:ext uri="{FF2B5EF4-FFF2-40B4-BE49-F238E27FC236}">
                <a16:creationId xmlns:a16="http://schemas.microsoft.com/office/drawing/2014/main" id="{D3E95FF5-CD67-A390-6178-3323612C3D07}"/>
              </a:ext>
            </a:extLst>
          </p:cNvPr>
          <p:cNvSpPr txBox="1"/>
          <p:nvPr/>
        </p:nvSpPr>
        <p:spPr>
          <a:xfrm>
            <a:off x="3161466" y="3969078"/>
            <a:ext cx="5315274" cy="2789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00"/>
              </a:spcAft>
              <a:buClr>
                <a:schemeClr val="bg1"/>
              </a:buClr>
            </a:pPr>
            <a:r>
              <a:rPr lang="en-US" dirty="0">
                <a:solidFill>
                  <a:schemeClr val="tx1">
                    <a:lumMod val="50000"/>
                  </a:schemeClr>
                </a:solidFill>
                <a:latin typeface="Gill Sans MT" panose="020B0502020104020203" pitchFamily="34" charset="0"/>
              </a:rPr>
              <a:t>Over 1/3</a:t>
            </a:r>
            <a:r>
              <a:rPr lang="en-US" baseline="30000" dirty="0">
                <a:solidFill>
                  <a:schemeClr val="tx1">
                    <a:lumMod val="50000"/>
                  </a:schemeClr>
                </a:solidFill>
                <a:latin typeface="Gill Sans MT" panose="020B0502020104020203" pitchFamily="34" charset="0"/>
              </a:rPr>
              <a:t>rd</a:t>
            </a:r>
            <a:r>
              <a:rPr lang="en-US" dirty="0">
                <a:solidFill>
                  <a:schemeClr val="tx1">
                    <a:lumMod val="50000"/>
                  </a:schemeClr>
                </a:solidFill>
                <a:latin typeface="Gill Sans MT" panose="020B0502020104020203" pitchFamily="34" charset="0"/>
              </a:rPr>
              <a:t> of our staff are qualified engineers</a:t>
            </a:r>
          </a:p>
        </p:txBody>
      </p:sp>
      <p:sp>
        <p:nvSpPr>
          <p:cNvPr id="52" name="TextBox 51">
            <a:extLst>
              <a:ext uri="{FF2B5EF4-FFF2-40B4-BE49-F238E27FC236}">
                <a16:creationId xmlns:a16="http://schemas.microsoft.com/office/drawing/2014/main" id="{269DC3D1-5904-D2B8-2D81-24A16F1DE91F}"/>
              </a:ext>
            </a:extLst>
          </p:cNvPr>
          <p:cNvSpPr txBox="1"/>
          <p:nvPr/>
        </p:nvSpPr>
        <p:spPr>
          <a:xfrm>
            <a:off x="3161466" y="4790131"/>
            <a:ext cx="5315274" cy="2789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00"/>
              </a:spcAft>
              <a:buClr>
                <a:schemeClr val="bg1"/>
              </a:buClr>
            </a:pPr>
            <a:r>
              <a:rPr lang="en-US" dirty="0">
                <a:solidFill>
                  <a:schemeClr val="tx1">
                    <a:lumMod val="50000"/>
                  </a:schemeClr>
                </a:solidFill>
                <a:latin typeface="Gill Sans MT" panose="020B0502020104020203" pitchFamily="34" charset="0"/>
              </a:rPr>
              <a:t>90% of our customers place repeat orders</a:t>
            </a:r>
          </a:p>
        </p:txBody>
      </p:sp>
      <p:sp>
        <p:nvSpPr>
          <p:cNvPr id="53" name="TextBox 52">
            <a:extLst>
              <a:ext uri="{FF2B5EF4-FFF2-40B4-BE49-F238E27FC236}">
                <a16:creationId xmlns:a16="http://schemas.microsoft.com/office/drawing/2014/main" id="{B6D3F079-B4EC-34F1-51D0-1921F847F5E3}"/>
              </a:ext>
            </a:extLst>
          </p:cNvPr>
          <p:cNvSpPr txBox="1"/>
          <p:nvPr/>
        </p:nvSpPr>
        <p:spPr>
          <a:xfrm>
            <a:off x="3124249" y="5545367"/>
            <a:ext cx="5822495" cy="2789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00"/>
              </a:spcAft>
              <a:buClr>
                <a:schemeClr val="bg1"/>
              </a:buClr>
            </a:pPr>
            <a:r>
              <a:rPr lang="en-US" dirty="0">
                <a:solidFill>
                  <a:schemeClr val="tx1">
                    <a:lumMod val="50000"/>
                  </a:schemeClr>
                </a:solidFill>
                <a:latin typeface="Gill Sans MT" panose="020B0502020104020203" pitchFamily="34" charset="0"/>
              </a:rPr>
              <a:t>3-4x investment in capacity and capabilities in last 18m</a:t>
            </a:r>
          </a:p>
        </p:txBody>
      </p:sp>
      <p:sp>
        <p:nvSpPr>
          <p:cNvPr id="60" name="Rectangle 59">
            <a:extLst>
              <a:ext uri="{FF2B5EF4-FFF2-40B4-BE49-F238E27FC236}">
                <a16:creationId xmlns:a16="http://schemas.microsoft.com/office/drawing/2014/main" id="{7035C67E-874C-1194-4276-39F0A3A44B35}"/>
              </a:ext>
            </a:extLst>
          </p:cNvPr>
          <p:cNvSpPr/>
          <p:nvPr/>
        </p:nvSpPr>
        <p:spPr>
          <a:xfrm>
            <a:off x="0" y="-1640"/>
            <a:ext cx="12192000" cy="1668044"/>
          </a:xfrm>
          <a:prstGeom prst="rect">
            <a:avLst/>
          </a:prstGeom>
          <a:solidFill>
            <a:srgbClr val="63666A">
              <a:alpha val="54902"/>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lumMod val="50000"/>
                </a:schemeClr>
              </a:solidFill>
            </a:endParaRPr>
          </a:p>
        </p:txBody>
      </p:sp>
      <p:sp>
        <p:nvSpPr>
          <p:cNvPr id="61" name="Title 20">
            <a:extLst>
              <a:ext uri="{FF2B5EF4-FFF2-40B4-BE49-F238E27FC236}">
                <a16:creationId xmlns:a16="http://schemas.microsoft.com/office/drawing/2014/main" id="{3B51A572-4834-CA6C-9FF8-1B39907CDDF5}"/>
              </a:ext>
            </a:extLst>
          </p:cNvPr>
          <p:cNvSpPr txBox="1">
            <a:spLocks/>
          </p:cNvSpPr>
          <p:nvPr/>
        </p:nvSpPr>
        <p:spPr>
          <a:xfrm>
            <a:off x="630238" y="622300"/>
            <a:ext cx="10933112"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3200" dirty="0">
                <a:solidFill>
                  <a:schemeClr val="bg1"/>
                </a:solidFill>
                <a:latin typeface="Gill Sans MT" panose="020B0502020104020203" pitchFamily="34" charset="0"/>
              </a:rPr>
              <a:t>Electronics Contract Manufacturing and Design </a:t>
            </a:r>
          </a:p>
        </p:txBody>
      </p:sp>
      <p:pic>
        <p:nvPicPr>
          <p:cNvPr id="62" name="Picture 61">
            <a:extLst>
              <a:ext uri="{FF2B5EF4-FFF2-40B4-BE49-F238E27FC236}">
                <a16:creationId xmlns:a16="http://schemas.microsoft.com/office/drawing/2014/main" id="{7D5B015F-35B8-BC8D-D58B-59E6C8F8AF46}"/>
              </a:ext>
            </a:extLst>
          </p:cNvPr>
          <p:cNvPicPr>
            <a:picLocks noChangeAspect="1"/>
          </p:cNvPicPr>
          <p:nvPr/>
        </p:nvPicPr>
        <p:blipFill>
          <a:blip r:embed="rId8">
            <a:extLst>
              <a:ext uri="{BEBA8EAE-BF5A-486C-A8C5-ECC9F3942E4B}">
                <a14:imgProps xmlns:a14="http://schemas.microsoft.com/office/drawing/2010/main">
                  <a14:imgLayer r:embed="rId9">
                    <a14:imgEffect>
                      <a14:colorTemperature colorTemp="5300"/>
                    </a14:imgEffect>
                  </a14:imgLayer>
                </a14:imgProps>
              </a:ext>
            </a:extLst>
          </a:blip>
          <a:stretch>
            <a:fillRect/>
          </a:stretch>
        </p:blipFill>
        <p:spPr>
          <a:xfrm>
            <a:off x="11177401" y="159180"/>
            <a:ext cx="861873" cy="466259"/>
          </a:xfrm>
          <a:prstGeom prst="rect">
            <a:avLst/>
          </a:prstGeom>
        </p:spPr>
      </p:pic>
    </p:spTree>
    <p:extLst>
      <p:ext uri="{BB962C8B-B14F-4D97-AF65-F5344CB8AC3E}">
        <p14:creationId xmlns:p14="http://schemas.microsoft.com/office/powerpoint/2010/main" val="4015730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05965-0BE0-5487-DB06-FF9316372756}"/>
            </a:ext>
          </a:extLst>
        </p:cNvPr>
        <p:cNvGrpSpPr/>
        <p:nvPr/>
      </p:nvGrpSpPr>
      <p:grpSpPr>
        <a:xfrm>
          <a:off x="0" y="0"/>
          <a:ext cx="0" cy="0"/>
          <a:chOff x="0" y="0"/>
          <a:chExt cx="0" cy="0"/>
        </a:xfrm>
      </p:grpSpPr>
      <p:sp>
        <p:nvSpPr>
          <p:cNvPr id="3" name="Right Triangle 2">
            <a:extLst>
              <a:ext uri="{FF2B5EF4-FFF2-40B4-BE49-F238E27FC236}">
                <a16:creationId xmlns:a16="http://schemas.microsoft.com/office/drawing/2014/main" id="{DA7E3626-F057-50E8-DA33-3CAB8539855B}"/>
              </a:ext>
            </a:extLst>
          </p:cNvPr>
          <p:cNvSpPr/>
          <p:nvPr/>
        </p:nvSpPr>
        <p:spPr>
          <a:xfrm>
            <a:off x="3789727" y="1666404"/>
            <a:ext cx="3607724" cy="5194836"/>
          </a:xfrm>
          <a:prstGeom prst="rtTriangle">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cxnSp>
        <p:nvCxnSpPr>
          <p:cNvPr id="27" name="Straight Connector 26">
            <a:extLst>
              <a:ext uri="{FF2B5EF4-FFF2-40B4-BE49-F238E27FC236}">
                <a16:creationId xmlns:a16="http://schemas.microsoft.com/office/drawing/2014/main" id="{7E3F646D-5910-8EA3-4A1E-F47C2207C114}"/>
              </a:ext>
            </a:extLst>
          </p:cNvPr>
          <p:cNvCxnSpPr>
            <a:cxnSpLocks/>
          </p:cNvCxnSpPr>
          <p:nvPr/>
        </p:nvCxnSpPr>
        <p:spPr>
          <a:xfrm flipH="1">
            <a:off x="5064111" y="4844059"/>
            <a:ext cx="2788799" cy="0"/>
          </a:xfrm>
          <a:prstGeom prst="line">
            <a:avLst/>
          </a:prstGeom>
          <a:ln w="19050" cap="rnd">
            <a:solidFill>
              <a:srgbClr val="790B0F"/>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D996514-0CE5-0A98-BE62-8146CE8D7D1B}"/>
              </a:ext>
            </a:extLst>
          </p:cNvPr>
          <p:cNvSpPr/>
          <p:nvPr/>
        </p:nvSpPr>
        <p:spPr>
          <a:xfrm>
            <a:off x="18344" y="1686812"/>
            <a:ext cx="3771383" cy="5171187"/>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aphicFrame>
        <p:nvGraphicFramePr>
          <p:cNvPr id="4" name="Object 3" hidden="1">
            <a:extLst>
              <a:ext uri="{FF2B5EF4-FFF2-40B4-BE49-F238E27FC236}">
                <a16:creationId xmlns:a16="http://schemas.microsoft.com/office/drawing/2014/main" id="{43C9A905-D1B2-B05E-977A-B6C5B7B948B1}"/>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43C9A905-D1B2-B05E-977A-B6C5B7B948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C7984B5A-D0D3-46CD-C045-354A600C3487}"/>
              </a:ext>
            </a:extLst>
          </p:cNvPr>
          <p:cNvSpPr/>
          <p:nvPr/>
        </p:nvSpPr>
        <p:spPr>
          <a:xfrm>
            <a:off x="6557922" y="2267310"/>
            <a:ext cx="5154506" cy="9233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2000" b="1" i="0" u="none" strike="noStrike" kern="1200" cap="none" spc="0" normalizeH="0" baseline="0" noProof="0" dirty="0">
                <a:ln>
                  <a:noFill/>
                </a:ln>
                <a:solidFill>
                  <a:schemeClr val="tx1">
                    <a:lumMod val="50000"/>
                  </a:schemeClr>
                </a:solidFill>
                <a:effectLst/>
                <a:uLnTx/>
                <a:uFillTx/>
                <a:latin typeface="Gill Sans MT" panose="020B0502020104020203" pitchFamily="34" charset="0"/>
              </a:rPr>
              <a:t>Quality parts</a:t>
            </a:r>
          </a:p>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b="0" i="0" u="none" strike="noStrike" kern="1200" cap="none" spc="0" normalizeH="0" baseline="0" noProof="0" dirty="0">
                <a:ln>
                  <a:noFill/>
                </a:ln>
                <a:solidFill>
                  <a:schemeClr val="tx1">
                    <a:lumMod val="50000"/>
                  </a:schemeClr>
                </a:solidFill>
                <a:effectLst/>
                <a:uLnTx/>
                <a:uFillTx/>
                <a:latin typeface="Gill Sans MT" panose="020B0502020104020203" pitchFamily="34" charset="0"/>
              </a:rPr>
              <a:t>Dependable, repeatable outcomes </a:t>
            </a:r>
            <a:r>
              <a:rPr lang="en-GB" dirty="0">
                <a:solidFill>
                  <a:schemeClr val="tx1">
                    <a:lumMod val="50000"/>
                  </a:schemeClr>
                </a:solidFill>
                <a:latin typeface="Gill Sans MT" panose="020B0502020104020203" pitchFamily="34" charset="0"/>
              </a:rPr>
              <a:t>driven by our culture of transparency and continuous improvement.</a:t>
            </a:r>
            <a:endParaRPr kumimoji="0" lang="en-GB" b="0" i="0" u="none" strike="noStrike" kern="1200" cap="none" spc="0" normalizeH="0" baseline="0" noProof="0" dirty="0">
              <a:ln>
                <a:noFill/>
              </a:ln>
              <a:solidFill>
                <a:schemeClr val="tx1">
                  <a:lumMod val="50000"/>
                </a:schemeClr>
              </a:solidFill>
              <a:effectLst/>
              <a:uLnTx/>
              <a:uFillTx/>
              <a:latin typeface="Gill Sans MT" panose="020B0502020104020203" pitchFamily="34" charset="0"/>
            </a:endParaRPr>
          </a:p>
        </p:txBody>
      </p:sp>
      <p:sp>
        <p:nvSpPr>
          <p:cNvPr id="52" name="Rectangle 51">
            <a:extLst>
              <a:ext uri="{FF2B5EF4-FFF2-40B4-BE49-F238E27FC236}">
                <a16:creationId xmlns:a16="http://schemas.microsoft.com/office/drawing/2014/main" id="{2BFD9774-9B1D-B63D-6D8E-0CE2BE14BD70}"/>
              </a:ext>
            </a:extLst>
          </p:cNvPr>
          <p:cNvSpPr/>
          <p:nvPr/>
        </p:nvSpPr>
        <p:spPr>
          <a:xfrm>
            <a:off x="7226465" y="3429000"/>
            <a:ext cx="4729745" cy="9233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GB" sz="2000" b="1" dirty="0">
                <a:solidFill>
                  <a:schemeClr val="accent6"/>
                </a:solidFill>
                <a:latin typeface="Gill Sans MT" panose="020B0502020104020203" pitchFamily="34" charset="0"/>
              </a:rPr>
              <a:t>Timely delivery</a:t>
            </a:r>
          </a:p>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b="0" i="0" u="none" strike="noStrike" kern="1200" cap="none" spc="0" normalizeH="0" baseline="0" noProof="0" dirty="0">
                <a:ln>
                  <a:noFill/>
                </a:ln>
                <a:solidFill>
                  <a:schemeClr val="accent6"/>
                </a:solidFill>
                <a:effectLst/>
                <a:uLnTx/>
                <a:uFillTx/>
                <a:latin typeface="Gill Sans MT" panose="020B0502020104020203" pitchFamily="34" charset="0"/>
              </a:rPr>
              <a:t>Flexible lead-times tailored to your needs, including &lt;24 hour turns when parts are in-hand.</a:t>
            </a:r>
          </a:p>
        </p:txBody>
      </p:sp>
      <p:sp>
        <p:nvSpPr>
          <p:cNvPr id="54" name="Rectangle 53">
            <a:extLst>
              <a:ext uri="{FF2B5EF4-FFF2-40B4-BE49-F238E27FC236}">
                <a16:creationId xmlns:a16="http://schemas.microsoft.com/office/drawing/2014/main" id="{91AB98DD-54DD-BB46-3D3C-1A463B3A5009}"/>
              </a:ext>
            </a:extLst>
          </p:cNvPr>
          <p:cNvSpPr/>
          <p:nvPr/>
        </p:nvSpPr>
        <p:spPr>
          <a:xfrm>
            <a:off x="7933227" y="4664945"/>
            <a:ext cx="3779202" cy="8858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2000" b="1" i="0" u="none" strike="noStrike" kern="1200" cap="none" spc="0" normalizeH="0" baseline="0" noProof="0" dirty="0">
                <a:ln>
                  <a:noFill/>
                </a:ln>
                <a:solidFill>
                  <a:schemeClr val="accent6">
                    <a:lumMod val="50000"/>
                  </a:schemeClr>
                </a:solidFill>
                <a:effectLst/>
                <a:uLnTx/>
                <a:uFillTx/>
                <a:latin typeface="Gill Sans MT" panose="020B0502020104020203" pitchFamily="34" charset="0"/>
              </a:rPr>
              <a:t>Clear communication</a:t>
            </a:r>
            <a:endParaRPr lang="en-GB" sz="2000" b="1" dirty="0">
              <a:solidFill>
                <a:schemeClr val="accent6">
                  <a:lumMod val="50000"/>
                </a:schemeClr>
              </a:solidFill>
              <a:latin typeface="Gill Sans MT" panose="020B0502020104020203" pitchFamily="34" charset="0"/>
            </a:endParaRPr>
          </a:p>
          <a:p>
            <a:pPr marL="0" marR="0" lvl="0" indent="0"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b="0" i="0" u="none" strike="noStrike" kern="1200" cap="none" spc="0" normalizeH="0" baseline="0" noProof="0" dirty="0">
                <a:ln>
                  <a:noFill/>
                </a:ln>
                <a:solidFill>
                  <a:schemeClr val="accent6">
                    <a:lumMod val="50000"/>
                  </a:schemeClr>
                </a:solidFill>
                <a:effectLst/>
                <a:uLnTx/>
                <a:uFillTx/>
                <a:latin typeface="Gill Sans MT" panose="020B0502020104020203" pitchFamily="34" charset="0"/>
              </a:rPr>
              <a:t>Regular, proactive updates and collaboration with our </a:t>
            </a:r>
            <a:r>
              <a:rPr lang="en-GB" dirty="0">
                <a:solidFill>
                  <a:schemeClr val="accent6">
                    <a:lumMod val="50000"/>
                  </a:schemeClr>
                </a:solidFill>
                <a:latin typeface="Gill Sans MT" panose="020B0502020104020203" pitchFamily="34" charset="0"/>
              </a:rPr>
              <a:t>engineering team.</a:t>
            </a:r>
            <a:endParaRPr kumimoji="0" lang="en-GB" b="0" i="0" u="none" strike="noStrike" kern="1200" cap="none" spc="0" normalizeH="0" baseline="0" noProof="0" dirty="0">
              <a:ln>
                <a:noFill/>
              </a:ln>
              <a:solidFill>
                <a:schemeClr val="accent6">
                  <a:lumMod val="50000"/>
                </a:schemeClr>
              </a:solidFill>
              <a:effectLst/>
              <a:uLnTx/>
              <a:uFillTx/>
              <a:latin typeface="Gill Sans MT" panose="020B0502020104020203" pitchFamily="34" charset="0"/>
            </a:endParaRPr>
          </a:p>
        </p:txBody>
      </p:sp>
      <p:sp>
        <p:nvSpPr>
          <p:cNvPr id="33" name="Freeform 5">
            <a:extLst>
              <a:ext uri="{FF2B5EF4-FFF2-40B4-BE49-F238E27FC236}">
                <a16:creationId xmlns:a16="http://schemas.microsoft.com/office/drawing/2014/main" id="{D4B6C0E0-D080-C088-FCBE-755353E0004E}"/>
              </a:ext>
            </a:extLst>
          </p:cNvPr>
          <p:cNvSpPr>
            <a:spLocks/>
          </p:cNvSpPr>
          <p:nvPr/>
        </p:nvSpPr>
        <p:spPr bwMode="auto">
          <a:xfrm>
            <a:off x="3621458" y="2306576"/>
            <a:ext cx="2516042" cy="1880755"/>
          </a:xfrm>
          <a:custGeom>
            <a:avLst/>
            <a:gdLst>
              <a:gd name="T0" fmla="*/ 747 w 974"/>
              <a:gd name="T1" fmla="*/ 58 h 728"/>
              <a:gd name="T2" fmla="*/ 480 w 974"/>
              <a:gd name="T3" fmla="*/ 25 h 728"/>
              <a:gd name="T4" fmla="*/ 372 w 974"/>
              <a:gd name="T5" fmla="*/ 75 h 728"/>
              <a:gd name="T6" fmla="*/ 267 w 974"/>
              <a:gd name="T7" fmla="*/ 190 h 728"/>
              <a:gd name="T8" fmla="*/ 0 w 974"/>
              <a:gd name="T9" fmla="*/ 659 h 728"/>
              <a:gd name="T10" fmla="*/ 43 w 974"/>
              <a:gd name="T11" fmla="*/ 643 h 728"/>
              <a:gd name="T12" fmla="*/ 399 w 974"/>
              <a:gd name="T13" fmla="*/ 670 h 728"/>
              <a:gd name="T14" fmla="*/ 666 w 974"/>
              <a:gd name="T15" fmla="*/ 703 h 728"/>
              <a:gd name="T16" fmla="*/ 774 w 974"/>
              <a:gd name="T17" fmla="*/ 653 h 728"/>
              <a:gd name="T18" fmla="*/ 879 w 974"/>
              <a:gd name="T19" fmla="*/ 538 h 728"/>
              <a:gd name="T20" fmla="*/ 879 w 974"/>
              <a:gd name="T21" fmla="*/ 537 h 728"/>
              <a:gd name="T22" fmla="*/ 747 w 974"/>
              <a:gd name="T23" fmla="*/ 5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4" h="728">
                <a:moveTo>
                  <a:pt x="747" y="58"/>
                </a:moveTo>
                <a:cubicBezTo>
                  <a:pt x="665" y="12"/>
                  <a:pt x="571" y="0"/>
                  <a:pt x="480" y="25"/>
                </a:cubicBezTo>
                <a:cubicBezTo>
                  <a:pt x="441" y="36"/>
                  <a:pt x="405" y="52"/>
                  <a:pt x="372" y="75"/>
                </a:cubicBezTo>
                <a:cubicBezTo>
                  <a:pt x="329" y="105"/>
                  <a:pt x="293" y="144"/>
                  <a:pt x="267" y="190"/>
                </a:cubicBezTo>
                <a:cubicBezTo>
                  <a:pt x="0" y="659"/>
                  <a:pt x="0" y="659"/>
                  <a:pt x="0" y="659"/>
                </a:cubicBezTo>
                <a:cubicBezTo>
                  <a:pt x="43" y="643"/>
                  <a:pt x="43" y="643"/>
                  <a:pt x="43" y="643"/>
                </a:cubicBezTo>
                <a:cubicBezTo>
                  <a:pt x="160" y="598"/>
                  <a:pt x="290" y="607"/>
                  <a:pt x="399" y="670"/>
                </a:cubicBezTo>
                <a:cubicBezTo>
                  <a:pt x="480" y="716"/>
                  <a:pt x="575" y="728"/>
                  <a:pt x="666" y="703"/>
                </a:cubicBezTo>
                <a:cubicBezTo>
                  <a:pt x="705" y="692"/>
                  <a:pt x="741" y="675"/>
                  <a:pt x="774" y="653"/>
                </a:cubicBezTo>
                <a:cubicBezTo>
                  <a:pt x="817" y="623"/>
                  <a:pt x="852" y="584"/>
                  <a:pt x="879" y="538"/>
                </a:cubicBezTo>
                <a:cubicBezTo>
                  <a:pt x="879" y="537"/>
                  <a:pt x="879" y="537"/>
                  <a:pt x="879" y="537"/>
                </a:cubicBezTo>
                <a:cubicBezTo>
                  <a:pt x="974" y="369"/>
                  <a:pt x="915" y="154"/>
                  <a:pt x="747" y="58"/>
                </a:cubicBez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34" name="Oval 6">
            <a:extLst>
              <a:ext uri="{FF2B5EF4-FFF2-40B4-BE49-F238E27FC236}">
                <a16:creationId xmlns:a16="http://schemas.microsoft.com/office/drawing/2014/main" id="{DF5B05DD-AB36-37C7-9F96-0B7BB32BBD83}"/>
              </a:ext>
            </a:extLst>
          </p:cNvPr>
          <p:cNvSpPr>
            <a:spLocks noChangeArrowheads="1"/>
          </p:cNvSpPr>
          <p:nvPr/>
        </p:nvSpPr>
        <p:spPr bwMode="auto">
          <a:xfrm>
            <a:off x="4438884" y="2583622"/>
            <a:ext cx="1325457" cy="1326662"/>
          </a:xfrm>
          <a:prstGeom prst="ellipse">
            <a:avLst/>
          </a:pr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5" name="Freeform 7">
            <a:extLst>
              <a:ext uri="{FF2B5EF4-FFF2-40B4-BE49-F238E27FC236}">
                <a16:creationId xmlns:a16="http://schemas.microsoft.com/office/drawing/2014/main" id="{E4428080-98D5-D848-280D-AEA81C54F54F}"/>
              </a:ext>
            </a:extLst>
          </p:cNvPr>
          <p:cNvSpPr>
            <a:spLocks/>
          </p:cNvSpPr>
          <p:nvPr/>
        </p:nvSpPr>
        <p:spPr bwMode="auto">
          <a:xfrm>
            <a:off x="3203392" y="4019231"/>
            <a:ext cx="2311921" cy="1811986"/>
          </a:xfrm>
          <a:custGeom>
            <a:avLst/>
            <a:gdLst>
              <a:gd name="T0" fmla="*/ 859 w 895"/>
              <a:gd name="T1" fmla="*/ 672 h 701"/>
              <a:gd name="T2" fmla="*/ 705 w 895"/>
              <a:gd name="T3" fmla="*/ 350 h 701"/>
              <a:gd name="T4" fmla="*/ 600 w 895"/>
              <a:gd name="T5" fmla="*/ 102 h 701"/>
              <a:gd name="T6" fmla="*/ 502 w 895"/>
              <a:gd name="T7" fmla="*/ 34 h 701"/>
              <a:gd name="T8" fmla="*/ 351 w 895"/>
              <a:gd name="T9" fmla="*/ 1 h 701"/>
              <a:gd name="T10" fmla="*/ 350 w 895"/>
              <a:gd name="T11" fmla="*/ 1 h 701"/>
              <a:gd name="T12" fmla="*/ 1 w 895"/>
              <a:gd name="T13" fmla="*/ 354 h 701"/>
              <a:gd name="T14" fmla="*/ 106 w 895"/>
              <a:gd name="T15" fmla="*/ 602 h 701"/>
              <a:gd name="T16" fmla="*/ 203 w 895"/>
              <a:gd name="T17" fmla="*/ 671 h 701"/>
              <a:gd name="T18" fmla="*/ 355 w 895"/>
              <a:gd name="T19" fmla="*/ 701 h 701"/>
              <a:gd name="T20" fmla="*/ 895 w 895"/>
              <a:gd name="T21" fmla="*/ 701 h 701"/>
              <a:gd name="T22" fmla="*/ 859 w 895"/>
              <a:gd name="T23" fmla="*/ 67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5" h="701">
                <a:moveTo>
                  <a:pt x="859" y="672"/>
                </a:moveTo>
                <a:cubicBezTo>
                  <a:pt x="762" y="593"/>
                  <a:pt x="705" y="476"/>
                  <a:pt x="705" y="350"/>
                </a:cubicBezTo>
                <a:cubicBezTo>
                  <a:pt x="704" y="256"/>
                  <a:pt x="667" y="168"/>
                  <a:pt x="600" y="102"/>
                </a:cubicBezTo>
                <a:cubicBezTo>
                  <a:pt x="571" y="74"/>
                  <a:pt x="538" y="51"/>
                  <a:pt x="502" y="34"/>
                </a:cubicBezTo>
                <a:cubicBezTo>
                  <a:pt x="455" y="11"/>
                  <a:pt x="404" y="0"/>
                  <a:pt x="351" y="1"/>
                </a:cubicBezTo>
                <a:cubicBezTo>
                  <a:pt x="350" y="1"/>
                  <a:pt x="350" y="1"/>
                  <a:pt x="350" y="1"/>
                </a:cubicBezTo>
                <a:cubicBezTo>
                  <a:pt x="156" y="2"/>
                  <a:pt x="0" y="161"/>
                  <a:pt x="1" y="354"/>
                </a:cubicBezTo>
                <a:cubicBezTo>
                  <a:pt x="2" y="448"/>
                  <a:pt x="39" y="536"/>
                  <a:pt x="106" y="602"/>
                </a:cubicBezTo>
                <a:cubicBezTo>
                  <a:pt x="134" y="631"/>
                  <a:pt x="167" y="654"/>
                  <a:pt x="203" y="671"/>
                </a:cubicBezTo>
                <a:cubicBezTo>
                  <a:pt x="251" y="693"/>
                  <a:pt x="302" y="701"/>
                  <a:pt x="355" y="701"/>
                </a:cubicBezTo>
                <a:cubicBezTo>
                  <a:pt x="895" y="701"/>
                  <a:pt x="895" y="701"/>
                  <a:pt x="895" y="701"/>
                </a:cubicBezTo>
                <a:lnTo>
                  <a:pt x="859" y="67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36" name="Oval 8">
            <a:extLst>
              <a:ext uri="{FF2B5EF4-FFF2-40B4-BE49-F238E27FC236}">
                <a16:creationId xmlns:a16="http://schemas.microsoft.com/office/drawing/2014/main" id="{56746B98-03EC-15B3-C3CD-32407F47A08C}"/>
              </a:ext>
            </a:extLst>
          </p:cNvPr>
          <p:cNvSpPr>
            <a:spLocks noChangeArrowheads="1"/>
          </p:cNvSpPr>
          <p:nvPr/>
        </p:nvSpPr>
        <p:spPr bwMode="auto">
          <a:xfrm>
            <a:off x="3455390" y="4271776"/>
            <a:ext cx="1325457" cy="1325455"/>
          </a:xfrm>
          <a:prstGeom prst="ellipse">
            <a:avLst/>
          </a:pr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9">
            <a:extLst>
              <a:ext uri="{FF2B5EF4-FFF2-40B4-BE49-F238E27FC236}">
                <a16:creationId xmlns:a16="http://schemas.microsoft.com/office/drawing/2014/main" id="{6B26F022-D718-67F4-F89F-CB7927402861}"/>
              </a:ext>
            </a:extLst>
          </p:cNvPr>
          <p:cNvSpPr>
            <a:spLocks/>
          </p:cNvSpPr>
          <p:nvPr/>
        </p:nvSpPr>
        <p:spPr bwMode="auto">
          <a:xfrm>
            <a:off x="5150732" y="3280246"/>
            <a:ext cx="1829453" cy="2700515"/>
          </a:xfrm>
          <a:custGeom>
            <a:avLst/>
            <a:gdLst>
              <a:gd name="T0" fmla="*/ 705 w 708"/>
              <a:gd name="T1" fmla="*/ 614 h 1045"/>
              <a:gd name="T2" fmla="*/ 658 w 708"/>
              <a:gd name="T3" fmla="*/ 466 h 1045"/>
              <a:gd name="T4" fmla="*/ 385 w 708"/>
              <a:gd name="T5" fmla="*/ 0 h 1045"/>
              <a:gd name="T6" fmla="*/ 378 w 708"/>
              <a:gd name="T7" fmla="*/ 45 h 1045"/>
              <a:gd name="T8" fmla="*/ 176 w 708"/>
              <a:gd name="T9" fmla="*/ 340 h 1045"/>
              <a:gd name="T10" fmla="*/ 14 w 708"/>
              <a:gd name="T11" fmla="*/ 555 h 1045"/>
              <a:gd name="T12" fmla="*/ 3 w 708"/>
              <a:gd name="T13" fmla="*/ 673 h 1045"/>
              <a:gd name="T14" fmla="*/ 50 w 708"/>
              <a:gd name="T15" fmla="*/ 821 h 1045"/>
              <a:gd name="T16" fmla="*/ 51 w 708"/>
              <a:gd name="T17" fmla="*/ 822 h 1045"/>
              <a:gd name="T18" fmla="*/ 532 w 708"/>
              <a:gd name="T19" fmla="*/ 947 h 1045"/>
              <a:gd name="T20" fmla="*/ 694 w 708"/>
              <a:gd name="T21" fmla="*/ 733 h 1045"/>
              <a:gd name="T22" fmla="*/ 705 w 708"/>
              <a:gd name="T23" fmla="*/ 614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8" h="1045">
                <a:moveTo>
                  <a:pt x="705" y="614"/>
                </a:moveTo>
                <a:cubicBezTo>
                  <a:pt x="700" y="562"/>
                  <a:pt x="684" y="512"/>
                  <a:pt x="658" y="466"/>
                </a:cubicBezTo>
                <a:cubicBezTo>
                  <a:pt x="385" y="0"/>
                  <a:pt x="385" y="0"/>
                  <a:pt x="385" y="0"/>
                </a:cubicBezTo>
                <a:cubicBezTo>
                  <a:pt x="378" y="45"/>
                  <a:pt x="378" y="45"/>
                  <a:pt x="378" y="45"/>
                </a:cubicBezTo>
                <a:cubicBezTo>
                  <a:pt x="358" y="169"/>
                  <a:pt x="285" y="277"/>
                  <a:pt x="176" y="340"/>
                </a:cubicBezTo>
                <a:cubicBezTo>
                  <a:pt x="95" y="387"/>
                  <a:pt x="38" y="464"/>
                  <a:pt x="14" y="555"/>
                </a:cubicBezTo>
                <a:cubicBezTo>
                  <a:pt x="4" y="594"/>
                  <a:pt x="0" y="634"/>
                  <a:pt x="3" y="673"/>
                </a:cubicBezTo>
                <a:cubicBezTo>
                  <a:pt x="8" y="726"/>
                  <a:pt x="23" y="775"/>
                  <a:pt x="50" y="821"/>
                </a:cubicBezTo>
                <a:cubicBezTo>
                  <a:pt x="51" y="822"/>
                  <a:pt x="51" y="822"/>
                  <a:pt x="51" y="822"/>
                </a:cubicBezTo>
                <a:cubicBezTo>
                  <a:pt x="149" y="989"/>
                  <a:pt x="365" y="1045"/>
                  <a:pt x="532" y="947"/>
                </a:cubicBezTo>
                <a:cubicBezTo>
                  <a:pt x="613" y="900"/>
                  <a:pt x="670" y="824"/>
                  <a:pt x="694" y="733"/>
                </a:cubicBezTo>
                <a:cubicBezTo>
                  <a:pt x="704" y="694"/>
                  <a:pt x="708" y="654"/>
                  <a:pt x="705" y="61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6" name="bcgIcons_Service excellence ">
            <a:extLst>
              <a:ext uri="{FF2B5EF4-FFF2-40B4-BE49-F238E27FC236}">
                <a16:creationId xmlns:a16="http://schemas.microsoft.com/office/drawing/2014/main" id="{7063E3CA-863F-FE70-08D4-651A458225FC}"/>
              </a:ext>
            </a:extLst>
          </p:cNvPr>
          <p:cNvGrpSpPr>
            <a:grpSpLocks noChangeAspect="1"/>
          </p:cNvGrpSpPr>
          <p:nvPr/>
        </p:nvGrpSpPr>
        <p:grpSpPr>
          <a:xfrm>
            <a:off x="4719062" y="2864402"/>
            <a:ext cx="765102" cy="765103"/>
            <a:chOff x="5272088" y="2605088"/>
            <a:chExt cx="1647825" cy="1647825"/>
          </a:xfrm>
        </p:grpSpPr>
        <p:sp>
          <p:nvSpPr>
            <p:cNvPr id="7" name="AutoShape 3">
              <a:extLst>
                <a:ext uri="{FF2B5EF4-FFF2-40B4-BE49-F238E27FC236}">
                  <a16:creationId xmlns:a16="http://schemas.microsoft.com/office/drawing/2014/main" id="{7B25AAC0-BD80-3A9C-F957-683A65303333}"/>
                </a:ext>
              </a:extLst>
            </p:cNvPr>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8070B97D-0FDB-CD66-BCBB-0FF011BAC483}"/>
                </a:ext>
              </a:extLst>
            </p:cNvPr>
            <p:cNvGrpSpPr/>
            <p:nvPr/>
          </p:nvGrpSpPr>
          <p:grpSpPr>
            <a:xfrm>
              <a:off x="5538788" y="3116263"/>
              <a:ext cx="1120775" cy="877888"/>
              <a:chOff x="5538788" y="3116263"/>
              <a:chExt cx="1120775" cy="877888"/>
            </a:xfrm>
          </p:grpSpPr>
          <p:sp>
            <p:nvSpPr>
              <p:cNvPr id="53" name="Freeform 52">
                <a:extLst>
                  <a:ext uri="{FF2B5EF4-FFF2-40B4-BE49-F238E27FC236}">
                    <a16:creationId xmlns:a16="http://schemas.microsoft.com/office/drawing/2014/main" id="{03806439-657C-4E99-FFE1-D17348A921AF}"/>
                  </a:ext>
                </a:extLst>
              </p:cNvPr>
              <p:cNvSpPr>
                <a:spLocks noEditPoints="1"/>
              </p:cNvSpPr>
              <p:nvPr/>
            </p:nvSpPr>
            <p:spPr bwMode="auto">
              <a:xfrm>
                <a:off x="5927726" y="3116263"/>
                <a:ext cx="701675" cy="485775"/>
              </a:xfrm>
              <a:custGeom>
                <a:avLst/>
                <a:gdLst>
                  <a:gd name="T0" fmla="*/ 24 w 982"/>
                  <a:gd name="T1" fmla="*/ 299 h 680"/>
                  <a:gd name="T2" fmla="*/ 235 w 982"/>
                  <a:gd name="T3" fmla="*/ 299 h 680"/>
                  <a:gd name="T4" fmla="*/ 256 w 982"/>
                  <a:gd name="T5" fmla="*/ 310 h 680"/>
                  <a:gd name="T6" fmla="*/ 323 w 982"/>
                  <a:gd name="T7" fmla="*/ 487 h 680"/>
                  <a:gd name="T8" fmla="*/ 192 w 982"/>
                  <a:gd name="T9" fmla="*/ 480 h 680"/>
                  <a:gd name="T10" fmla="*/ 20 w 982"/>
                  <a:gd name="T11" fmla="*/ 308 h 680"/>
                  <a:gd name="T12" fmla="*/ 24 w 982"/>
                  <a:gd name="T13" fmla="*/ 299 h 680"/>
                  <a:gd name="T14" fmla="*/ 760 w 982"/>
                  <a:gd name="T15" fmla="*/ 298 h 680"/>
                  <a:gd name="T16" fmla="*/ 963 w 982"/>
                  <a:gd name="T17" fmla="*/ 299 h 680"/>
                  <a:gd name="T18" fmla="*/ 967 w 982"/>
                  <a:gd name="T19" fmla="*/ 308 h 680"/>
                  <a:gd name="T20" fmla="*/ 600 w 982"/>
                  <a:gd name="T21" fmla="*/ 676 h 680"/>
                  <a:gd name="T22" fmla="*/ 591 w 982"/>
                  <a:gd name="T23" fmla="*/ 671 h 680"/>
                  <a:gd name="T24" fmla="*/ 591 w 982"/>
                  <a:gd name="T25" fmla="*/ 670 h 680"/>
                  <a:gd name="T26" fmla="*/ 721 w 982"/>
                  <a:gd name="T27" fmla="*/ 325 h 680"/>
                  <a:gd name="T28" fmla="*/ 760 w 982"/>
                  <a:gd name="T29" fmla="*/ 298 h 680"/>
                  <a:gd name="T30" fmla="*/ 314 w 982"/>
                  <a:gd name="T31" fmla="*/ 298 h 680"/>
                  <a:gd name="T32" fmla="*/ 670 w 982"/>
                  <a:gd name="T33" fmla="*/ 298 h 680"/>
                  <a:gd name="T34" fmla="*/ 675 w 982"/>
                  <a:gd name="T35" fmla="*/ 306 h 680"/>
                  <a:gd name="T36" fmla="*/ 573 w 982"/>
                  <a:gd name="T37" fmla="*/ 576 h 680"/>
                  <a:gd name="T38" fmla="*/ 455 w 982"/>
                  <a:gd name="T39" fmla="*/ 493 h 680"/>
                  <a:gd name="T40" fmla="*/ 378 w 982"/>
                  <a:gd name="T41" fmla="*/ 489 h 680"/>
                  <a:gd name="T42" fmla="*/ 309 w 982"/>
                  <a:gd name="T43" fmla="*/ 306 h 680"/>
                  <a:gd name="T44" fmla="*/ 314 w 982"/>
                  <a:gd name="T45" fmla="*/ 298 h 680"/>
                  <a:gd name="T46" fmla="*/ 440 w 982"/>
                  <a:gd name="T47" fmla="*/ 1 h 680"/>
                  <a:gd name="T48" fmla="*/ 544 w 982"/>
                  <a:gd name="T49" fmla="*/ 1 h 680"/>
                  <a:gd name="T50" fmla="*/ 568 w 982"/>
                  <a:gd name="T51" fmla="*/ 14 h 680"/>
                  <a:gd name="T52" fmla="*/ 673 w 982"/>
                  <a:gd name="T53" fmla="*/ 239 h 680"/>
                  <a:gd name="T54" fmla="*/ 668 w 982"/>
                  <a:gd name="T55" fmla="*/ 247 h 680"/>
                  <a:gd name="T56" fmla="*/ 317 w 982"/>
                  <a:gd name="T57" fmla="*/ 247 h 680"/>
                  <a:gd name="T58" fmla="*/ 312 w 982"/>
                  <a:gd name="T59" fmla="*/ 239 h 680"/>
                  <a:gd name="T60" fmla="*/ 418 w 982"/>
                  <a:gd name="T61" fmla="*/ 11 h 680"/>
                  <a:gd name="T62" fmla="*/ 440 w 982"/>
                  <a:gd name="T63" fmla="*/ 1 h 680"/>
                  <a:gd name="T64" fmla="*/ 625 w 982"/>
                  <a:gd name="T65" fmla="*/ 0 h 680"/>
                  <a:gd name="T66" fmla="*/ 749 w 982"/>
                  <a:gd name="T67" fmla="*/ 1 h 680"/>
                  <a:gd name="T68" fmla="*/ 774 w 982"/>
                  <a:gd name="T69" fmla="*/ 14 h 680"/>
                  <a:gd name="T70" fmla="*/ 980 w 982"/>
                  <a:gd name="T71" fmla="*/ 237 h 680"/>
                  <a:gd name="T72" fmla="*/ 977 w 982"/>
                  <a:gd name="T73" fmla="*/ 246 h 680"/>
                  <a:gd name="T74" fmla="*/ 965 w 982"/>
                  <a:gd name="T75" fmla="*/ 248 h 680"/>
                  <a:gd name="T76" fmla="*/ 754 w 982"/>
                  <a:gd name="T77" fmla="*/ 248 h 680"/>
                  <a:gd name="T78" fmla="*/ 720 w 982"/>
                  <a:gd name="T79" fmla="*/ 226 h 680"/>
                  <a:gd name="T80" fmla="*/ 620 w 982"/>
                  <a:gd name="T81" fmla="*/ 8 h 680"/>
                  <a:gd name="T82" fmla="*/ 625 w 982"/>
                  <a:gd name="T83" fmla="*/ 0 h 680"/>
                  <a:gd name="T84" fmla="*/ 360 w 982"/>
                  <a:gd name="T85" fmla="*/ 0 h 680"/>
                  <a:gd name="T86" fmla="*/ 365 w 982"/>
                  <a:gd name="T87" fmla="*/ 8 h 680"/>
                  <a:gd name="T88" fmla="*/ 258 w 982"/>
                  <a:gd name="T89" fmla="*/ 236 h 680"/>
                  <a:gd name="T90" fmla="*/ 242 w 982"/>
                  <a:gd name="T91" fmla="*/ 247 h 680"/>
                  <a:gd name="T92" fmla="*/ 8 w 982"/>
                  <a:gd name="T93" fmla="*/ 247 h 680"/>
                  <a:gd name="T94" fmla="*/ 3 w 982"/>
                  <a:gd name="T95" fmla="*/ 238 h 680"/>
                  <a:gd name="T96" fmla="*/ 84 w 982"/>
                  <a:gd name="T97" fmla="*/ 150 h 680"/>
                  <a:gd name="T98" fmla="*/ 207 w 982"/>
                  <a:gd name="T99" fmla="*/ 16 h 680"/>
                  <a:gd name="T100" fmla="*/ 235 w 982"/>
                  <a:gd name="T101" fmla="*/ 1 h 680"/>
                  <a:gd name="T102" fmla="*/ 360 w 982"/>
                  <a:gd name="T103" fmla="*/ 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2" h="680">
                    <a:moveTo>
                      <a:pt x="24" y="299"/>
                    </a:moveTo>
                    <a:cubicBezTo>
                      <a:pt x="92" y="299"/>
                      <a:pt x="164" y="298"/>
                      <a:pt x="235" y="299"/>
                    </a:cubicBezTo>
                    <a:cubicBezTo>
                      <a:pt x="242" y="299"/>
                      <a:pt x="254" y="304"/>
                      <a:pt x="256" y="310"/>
                    </a:cubicBezTo>
                    <a:cubicBezTo>
                      <a:pt x="279" y="369"/>
                      <a:pt x="300" y="428"/>
                      <a:pt x="323" y="487"/>
                    </a:cubicBezTo>
                    <a:cubicBezTo>
                      <a:pt x="323" y="487"/>
                      <a:pt x="323" y="487"/>
                      <a:pt x="192" y="480"/>
                    </a:cubicBezTo>
                    <a:cubicBezTo>
                      <a:pt x="136" y="422"/>
                      <a:pt x="78" y="366"/>
                      <a:pt x="20" y="308"/>
                    </a:cubicBezTo>
                    <a:cubicBezTo>
                      <a:pt x="17" y="305"/>
                      <a:pt x="19" y="299"/>
                      <a:pt x="24" y="299"/>
                    </a:cubicBezTo>
                    <a:close/>
                    <a:moveTo>
                      <a:pt x="760" y="298"/>
                    </a:moveTo>
                    <a:cubicBezTo>
                      <a:pt x="828" y="299"/>
                      <a:pt x="897" y="299"/>
                      <a:pt x="963" y="299"/>
                    </a:cubicBezTo>
                    <a:cubicBezTo>
                      <a:pt x="968" y="299"/>
                      <a:pt x="971" y="305"/>
                      <a:pt x="967" y="308"/>
                    </a:cubicBezTo>
                    <a:cubicBezTo>
                      <a:pt x="844" y="431"/>
                      <a:pt x="722" y="555"/>
                      <a:pt x="600" y="676"/>
                    </a:cubicBezTo>
                    <a:cubicBezTo>
                      <a:pt x="596" y="680"/>
                      <a:pt x="589" y="676"/>
                      <a:pt x="591" y="671"/>
                    </a:cubicBezTo>
                    <a:cubicBezTo>
                      <a:pt x="591" y="670"/>
                      <a:pt x="591" y="670"/>
                      <a:pt x="591" y="670"/>
                    </a:cubicBezTo>
                    <a:cubicBezTo>
                      <a:pt x="635" y="556"/>
                      <a:pt x="679" y="440"/>
                      <a:pt x="721" y="325"/>
                    </a:cubicBezTo>
                    <a:cubicBezTo>
                      <a:pt x="728" y="304"/>
                      <a:pt x="738" y="298"/>
                      <a:pt x="760" y="298"/>
                    </a:cubicBezTo>
                    <a:close/>
                    <a:moveTo>
                      <a:pt x="314" y="298"/>
                    </a:moveTo>
                    <a:cubicBezTo>
                      <a:pt x="314" y="298"/>
                      <a:pt x="314" y="298"/>
                      <a:pt x="670" y="298"/>
                    </a:cubicBezTo>
                    <a:cubicBezTo>
                      <a:pt x="674" y="298"/>
                      <a:pt x="676" y="302"/>
                      <a:pt x="675" y="306"/>
                    </a:cubicBezTo>
                    <a:cubicBezTo>
                      <a:pt x="641" y="396"/>
                      <a:pt x="606" y="486"/>
                      <a:pt x="573" y="576"/>
                    </a:cubicBezTo>
                    <a:cubicBezTo>
                      <a:pt x="554" y="529"/>
                      <a:pt x="509" y="496"/>
                      <a:pt x="455" y="493"/>
                    </a:cubicBezTo>
                    <a:cubicBezTo>
                      <a:pt x="455" y="493"/>
                      <a:pt x="455" y="493"/>
                      <a:pt x="378" y="489"/>
                    </a:cubicBezTo>
                    <a:cubicBezTo>
                      <a:pt x="373" y="476"/>
                      <a:pt x="358" y="436"/>
                      <a:pt x="309" y="306"/>
                    </a:cubicBezTo>
                    <a:cubicBezTo>
                      <a:pt x="308" y="302"/>
                      <a:pt x="310" y="298"/>
                      <a:pt x="314" y="298"/>
                    </a:cubicBezTo>
                    <a:close/>
                    <a:moveTo>
                      <a:pt x="440" y="1"/>
                    </a:moveTo>
                    <a:cubicBezTo>
                      <a:pt x="474" y="0"/>
                      <a:pt x="509" y="0"/>
                      <a:pt x="544" y="1"/>
                    </a:cubicBezTo>
                    <a:cubicBezTo>
                      <a:pt x="552" y="1"/>
                      <a:pt x="564" y="7"/>
                      <a:pt x="568" y="14"/>
                    </a:cubicBezTo>
                    <a:cubicBezTo>
                      <a:pt x="603" y="87"/>
                      <a:pt x="637" y="162"/>
                      <a:pt x="673" y="239"/>
                    </a:cubicBezTo>
                    <a:cubicBezTo>
                      <a:pt x="674" y="243"/>
                      <a:pt x="672" y="247"/>
                      <a:pt x="668" y="247"/>
                    </a:cubicBezTo>
                    <a:cubicBezTo>
                      <a:pt x="668" y="247"/>
                      <a:pt x="668" y="247"/>
                      <a:pt x="317" y="247"/>
                    </a:cubicBezTo>
                    <a:cubicBezTo>
                      <a:pt x="313" y="247"/>
                      <a:pt x="310" y="243"/>
                      <a:pt x="312" y="239"/>
                    </a:cubicBezTo>
                    <a:cubicBezTo>
                      <a:pt x="347" y="161"/>
                      <a:pt x="382" y="85"/>
                      <a:pt x="418" y="11"/>
                    </a:cubicBezTo>
                    <a:cubicBezTo>
                      <a:pt x="421" y="5"/>
                      <a:pt x="432" y="1"/>
                      <a:pt x="440" y="1"/>
                    </a:cubicBezTo>
                    <a:close/>
                    <a:moveTo>
                      <a:pt x="625" y="0"/>
                    </a:moveTo>
                    <a:cubicBezTo>
                      <a:pt x="669" y="0"/>
                      <a:pt x="710" y="0"/>
                      <a:pt x="749" y="1"/>
                    </a:cubicBezTo>
                    <a:cubicBezTo>
                      <a:pt x="757" y="1"/>
                      <a:pt x="768" y="7"/>
                      <a:pt x="774" y="14"/>
                    </a:cubicBezTo>
                    <a:cubicBezTo>
                      <a:pt x="842" y="87"/>
                      <a:pt x="910" y="161"/>
                      <a:pt x="980" y="237"/>
                    </a:cubicBezTo>
                    <a:cubicBezTo>
                      <a:pt x="982" y="240"/>
                      <a:pt x="981" y="246"/>
                      <a:pt x="977" y="246"/>
                    </a:cubicBezTo>
                    <a:cubicBezTo>
                      <a:pt x="972" y="247"/>
                      <a:pt x="968" y="248"/>
                      <a:pt x="965" y="248"/>
                    </a:cubicBezTo>
                    <a:cubicBezTo>
                      <a:pt x="895" y="248"/>
                      <a:pt x="824" y="247"/>
                      <a:pt x="754" y="248"/>
                    </a:cubicBezTo>
                    <a:cubicBezTo>
                      <a:pt x="736" y="249"/>
                      <a:pt x="726" y="243"/>
                      <a:pt x="720" y="226"/>
                    </a:cubicBezTo>
                    <a:cubicBezTo>
                      <a:pt x="688" y="155"/>
                      <a:pt x="654" y="84"/>
                      <a:pt x="620" y="8"/>
                    </a:cubicBezTo>
                    <a:cubicBezTo>
                      <a:pt x="618" y="5"/>
                      <a:pt x="621" y="0"/>
                      <a:pt x="625" y="0"/>
                    </a:cubicBezTo>
                    <a:close/>
                    <a:moveTo>
                      <a:pt x="360" y="0"/>
                    </a:moveTo>
                    <a:cubicBezTo>
                      <a:pt x="364" y="0"/>
                      <a:pt x="366" y="5"/>
                      <a:pt x="365" y="8"/>
                    </a:cubicBezTo>
                    <a:cubicBezTo>
                      <a:pt x="327" y="87"/>
                      <a:pt x="293" y="161"/>
                      <a:pt x="258" y="236"/>
                    </a:cubicBezTo>
                    <a:cubicBezTo>
                      <a:pt x="256" y="241"/>
                      <a:pt x="248" y="246"/>
                      <a:pt x="242" y="247"/>
                    </a:cubicBezTo>
                    <a:cubicBezTo>
                      <a:pt x="167" y="247"/>
                      <a:pt x="90" y="247"/>
                      <a:pt x="8" y="247"/>
                    </a:cubicBezTo>
                    <a:cubicBezTo>
                      <a:pt x="3" y="247"/>
                      <a:pt x="0" y="241"/>
                      <a:pt x="3" y="238"/>
                    </a:cubicBezTo>
                    <a:cubicBezTo>
                      <a:pt x="33" y="206"/>
                      <a:pt x="58" y="178"/>
                      <a:pt x="84" y="150"/>
                    </a:cubicBezTo>
                    <a:cubicBezTo>
                      <a:pt x="125" y="104"/>
                      <a:pt x="166" y="59"/>
                      <a:pt x="207" y="16"/>
                    </a:cubicBezTo>
                    <a:cubicBezTo>
                      <a:pt x="214" y="9"/>
                      <a:pt x="225" y="1"/>
                      <a:pt x="235" y="1"/>
                    </a:cubicBezTo>
                    <a:cubicBezTo>
                      <a:pt x="274" y="0"/>
                      <a:pt x="314" y="0"/>
                      <a:pt x="36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54">
                <a:extLst>
                  <a:ext uri="{FF2B5EF4-FFF2-40B4-BE49-F238E27FC236}">
                    <a16:creationId xmlns:a16="http://schemas.microsoft.com/office/drawing/2014/main" id="{E0F82B19-5001-C30F-FAC5-936192120A76}"/>
                  </a:ext>
                </a:extLst>
              </p:cNvPr>
              <p:cNvSpPr>
                <a:spLocks noEditPoints="1"/>
              </p:cNvSpPr>
              <p:nvPr/>
            </p:nvSpPr>
            <p:spPr bwMode="auto">
              <a:xfrm>
                <a:off x="5538788" y="3486151"/>
                <a:ext cx="1120775" cy="508000"/>
              </a:xfrm>
              <a:custGeom>
                <a:avLst/>
                <a:gdLst>
                  <a:gd name="T0" fmla="*/ 552 w 1569"/>
                  <a:gd name="T1" fmla="*/ 42 h 710"/>
                  <a:gd name="T2" fmla="*/ 454 w 1569"/>
                  <a:gd name="T3" fmla="*/ 68 h 710"/>
                  <a:gd name="T4" fmla="*/ 47 w 1569"/>
                  <a:gd name="T5" fmla="*/ 298 h 710"/>
                  <a:gd name="T6" fmla="*/ 47 w 1569"/>
                  <a:gd name="T7" fmla="*/ 657 h 710"/>
                  <a:gd name="T8" fmla="*/ 467 w 1569"/>
                  <a:gd name="T9" fmla="*/ 495 h 710"/>
                  <a:gd name="T10" fmla="*/ 586 w 1569"/>
                  <a:gd name="T11" fmla="*/ 473 h 710"/>
                  <a:gd name="T12" fmla="*/ 610 w 1569"/>
                  <a:gd name="T13" fmla="*/ 473 h 710"/>
                  <a:gd name="T14" fmla="*/ 778 w 1569"/>
                  <a:gd name="T15" fmla="*/ 486 h 710"/>
                  <a:gd name="T16" fmla="*/ 844 w 1569"/>
                  <a:gd name="T17" fmla="*/ 488 h 710"/>
                  <a:gd name="T18" fmla="*/ 1120 w 1569"/>
                  <a:gd name="T19" fmla="*/ 446 h 710"/>
                  <a:gd name="T20" fmla="*/ 1138 w 1569"/>
                  <a:gd name="T21" fmla="*/ 440 h 710"/>
                  <a:gd name="T22" fmla="*/ 1436 w 1569"/>
                  <a:gd name="T23" fmla="*/ 244 h 710"/>
                  <a:gd name="T24" fmla="*/ 1501 w 1569"/>
                  <a:gd name="T25" fmla="*/ 168 h 710"/>
                  <a:gd name="T26" fmla="*/ 1496 w 1569"/>
                  <a:gd name="T27" fmla="*/ 94 h 710"/>
                  <a:gd name="T28" fmla="*/ 1460 w 1569"/>
                  <a:gd name="T29" fmla="*/ 80 h 710"/>
                  <a:gd name="T30" fmla="*/ 1419 w 1569"/>
                  <a:gd name="T31" fmla="*/ 98 h 710"/>
                  <a:gd name="T32" fmla="*/ 1351 w 1569"/>
                  <a:gd name="T33" fmla="*/ 173 h 710"/>
                  <a:gd name="T34" fmla="*/ 1132 w 1569"/>
                  <a:gd name="T35" fmla="*/ 309 h 710"/>
                  <a:gd name="T36" fmla="*/ 1123 w 1569"/>
                  <a:gd name="T37" fmla="*/ 312 h 710"/>
                  <a:gd name="T38" fmla="*/ 1007 w 1569"/>
                  <a:gd name="T39" fmla="*/ 328 h 710"/>
                  <a:gd name="T40" fmla="*/ 847 w 1569"/>
                  <a:gd name="T41" fmla="*/ 297 h 710"/>
                  <a:gd name="T42" fmla="*/ 812 w 1569"/>
                  <a:gd name="T43" fmla="*/ 282 h 710"/>
                  <a:gd name="T44" fmla="*/ 776 w 1569"/>
                  <a:gd name="T45" fmla="*/ 220 h 710"/>
                  <a:gd name="T46" fmla="*/ 828 w 1569"/>
                  <a:gd name="T47" fmla="*/ 172 h 710"/>
                  <a:gd name="T48" fmla="*/ 997 w 1569"/>
                  <a:gd name="T49" fmla="*/ 156 h 710"/>
                  <a:gd name="T50" fmla="*/ 1039 w 1569"/>
                  <a:gd name="T51" fmla="*/ 111 h 710"/>
                  <a:gd name="T52" fmla="*/ 995 w 1569"/>
                  <a:gd name="T53" fmla="*/ 64 h 710"/>
                  <a:gd name="T54" fmla="*/ 562 w 1569"/>
                  <a:gd name="T55" fmla="*/ 42 h 710"/>
                  <a:gd name="T56" fmla="*/ 552 w 1569"/>
                  <a:gd name="T57" fmla="*/ 42 h 710"/>
                  <a:gd name="T58" fmla="*/ 551 w 1569"/>
                  <a:gd name="T59" fmla="*/ 0 h 710"/>
                  <a:gd name="T60" fmla="*/ 563 w 1569"/>
                  <a:gd name="T61" fmla="*/ 0 h 710"/>
                  <a:gd name="T62" fmla="*/ 997 w 1569"/>
                  <a:gd name="T63" fmla="*/ 21 h 710"/>
                  <a:gd name="T64" fmla="*/ 1083 w 1569"/>
                  <a:gd name="T65" fmla="*/ 112 h 710"/>
                  <a:gd name="T66" fmla="*/ 1001 w 1569"/>
                  <a:gd name="T67" fmla="*/ 202 h 710"/>
                  <a:gd name="T68" fmla="*/ 832 w 1569"/>
                  <a:gd name="T69" fmla="*/ 217 h 710"/>
                  <a:gd name="T70" fmla="*/ 828 w 1569"/>
                  <a:gd name="T71" fmla="*/ 243 h 710"/>
                  <a:gd name="T72" fmla="*/ 864 w 1569"/>
                  <a:gd name="T73" fmla="*/ 257 h 710"/>
                  <a:gd name="T74" fmla="*/ 1007 w 1569"/>
                  <a:gd name="T75" fmla="*/ 284 h 710"/>
                  <a:gd name="T76" fmla="*/ 1111 w 1569"/>
                  <a:gd name="T77" fmla="*/ 269 h 710"/>
                  <a:gd name="T78" fmla="*/ 1120 w 1569"/>
                  <a:gd name="T79" fmla="*/ 267 h 710"/>
                  <a:gd name="T80" fmla="*/ 1317 w 1569"/>
                  <a:gd name="T81" fmla="*/ 146 h 710"/>
                  <a:gd name="T82" fmla="*/ 1385 w 1569"/>
                  <a:gd name="T83" fmla="*/ 70 h 710"/>
                  <a:gd name="T84" fmla="*/ 1459 w 1569"/>
                  <a:gd name="T85" fmla="*/ 37 h 710"/>
                  <a:gd name="T86" fmla="*/ 1526 w 1569"/>
                  <a:gd name="T87" fmla="*/ 62 h 710"/>
                  <a:gd name="T88" fmla="*/ 1535 w 1569"/>
                  <a:gd name="T89" fmla="*/ 198 h 710"/>
                  <a:gd name="T90" fmla="*/ 1468 w 1569"/>
                  <a:gd name="T91" fmla="*/ 272 h 710"/>
                  <a:gd name="T92" fmla="*/ 1151 w 1569"/>
                  <a:gd name="T93" fmla="*/ 483 h 710"/>
                  <a:gd name="T94" fmla="*/ 1133 w 1569"/>
                  <a:gd name="T95" fmla="*/ 489 h 710"/>
                  <a:gd name="T96" fmla="*/ 844 w 1569"/>
                  <a:gd name="T97" fmla="*/ 532 h 710"/>
                  <a:gd name="T98" fmla="*/ 774 w 1569"/>
                  <a:gd name="T99" fmla="*/ 529 h 710"/>
                  <a:gd name="T100" fmla="*/ 605 w 1569"/>
                  <a:gd name="T101" fmla="*/ 517 h 710"/>
                  <a:gd name="T102" fmla="*/ 585 w 1569"/>
                  <a:gd name="T103" fmla="*/ 517 h 710"/>
                  <a:gd name="T104" fmla="*/ 482 w 1569"/>
                  <a:gd name="T105" fmla="*/ 536 h 710"/>
                  <a:gd name="T106" fmla="*/ 30 w 1569"/>
                  <a:gd name="T107" fmla="*/ 708 h 710"/>
                  <a:gd name="T108" fmla="*/ 22 w 1569"/>
                  <a:gd name="T109" fmla="*/ 710 h 710"/>
                  <a:gd name="T110" fmla="*/ 0 w 1569"/>
                  <a:gd name="T111" fmla="*/ 689 h 710"/>
                  <a:gd name="T112" fmla="*/ 0 w 1569"/>
                  <a:gd name="T113" fmla="*/ 285 h 710"/>
                  <a:gd name="T114" fmla="*/ 11 w 1569"/>
                  <a:gd name="T115" fmla="*/ 266 h 710"/>
                  <a:gd name="T116" fmla="*/ 431 w 1569"/>
                  <a:gd name="T117" fmla="*/ 30 h 710"/>
                  <a:gd name="T118" fmla="*/ 551 w 1569"/>
                  <a:gd name="T11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9" h="710">
                    <a:moveTo>
                      <a:pt x="552" y="42"/>
                    </a:moveTo>
                    <a:cubicBezTo>
                      <a:pt x="517" y="42"/>
                      <a:pt x="484" y="51"/>
                      <a:pt x="454" y="68"/>
                    </a:cubicBezTo>
                    <a:cubicBezTo>
                      <a:pt x="454" y="68"/>
                      <a:pt x="454" y="68"/>
                      <a:pt x="47" y="298"/>
                    </a:cubicBezTo>
                    <a:cubicBezTo>
                      <a:pt x="47" y="298"/>
                      <a:pt x="47" y="298"/>
                      <a:pt x="47" y="657"/>
                    </a:cubicBezTo>
                    <a:cubicBezTo>
                      <a:pt x="47" y="657"/>
                      <a:pt x="47" y="657"/>
                      <a:pt x="467" y="495"/>
                    </a:cubicBezTo>
                    <a:cubicBezTo>
                      <a:pt x="505" y="480"/>
                      <a:pt x="545" y="473"/>
                      <a:pt x="586" y="473"/>
                    </a:cubicBezTo>
                    <a:cubicBezTo>
                      <a:pt x="594" y="473"/>
                      <a:pt x="602" y="473"/>
                      <a:pt x="610" y="473"/>
                    </a:cubicBezTo>
                    <a:cubicBezTo>
                      <a:pt x="610" y="473"/>
                      <a:pt x="610" y="473"/>
                      <a:pt x="778" y="486"/>
                    </a:cubicBezTo>
                    <a:cubicBezTo>
                      <a:pt x="800" y="487"/>
                      <a:pt x="822" y="488"/>
                      <a:pt x="844" y="488"/>
                    </a:cubicBezTo>
                    <a:cubicBezTo>
                      <a:pt x="938" y="488"/>
                      <a:pt x="1031" y="474"/>
                      <a:pt x="1120" y="446"/>
                    </a:cubicBezTo>
                    <a:cubicBezTo>
                      <a:pt x="1120" y="446"/>
                      <a:pt x="1120" y="446"/>
                      <a:pt x="1138" y="440"/>
                    </a:cubicBezTo>
                    <a:cubicBezTo>
                      <a:pt x="1254" y="404"/>
                      <a:pt x="1357" y="337"/>
                      <a:pt x="1436" y="244"/>
                    </a:cubicBezTo>
                    <a:cubicBezTo>
                      <a:pt x="1436" y="244"/>
                      <a:pt x="1436" y="244"/>
                      <a:pt x="1501" y="168"/>
                    </a:cubicBezTo>
                    <a:cubicBezTo>
                      <a:pt x="1520" y="146"/>
                      <a:pt x="1518" y="113"/>
                      <a:pt x="1496" y="94"/>
                    </a:cubicBezTo>
                    <a:cubicBezTo>
                      <a:pt x="1486" y="84"/>
                      <a:pt x="1473" y="80"/>
                      <a:pt x="1460" y="80"/>
                    </a:cubicBezTo>
                    <a:cubicBezTo>
                      <a:pt x="1444" y="80"/>
                      <a:pt x="1430" y="86"/>
                      <a:pt x="1419" y="98"/>
                    </a:cubicBezTo>
                    <a:cubicBezTo>
                      <a:pt x="1419" y="98"/>
                      <a:pt x="1419" y="98"/>
                      <a:pt x="1351" y="173"/>
                    </a:cubicBezTo>
                    <a:cubicBezTo>
                      <a:pt x="1293" y="238"/>
                      <a:pt x="1217" y="285"/>
                      <a:pt x="1132" y="309"/>
                    </a:cubicBezTo>
                    <a:cubicBezTo>
                      <a:pt x="1132" y="309"/>
                      <a:pt x="1132" y="309"/>
                      <a:pt x="1123" y="312"/>
                    </a:cubicBezTo>
                    <a:cubicBezTo>
                      <a:pt x="1085" y="322"/>
                      <a:pt x="1047" y="328"/>
                      <a:pt x="1007" y="328"/>
                    </a:cubicBezTo>
                    <a:cubicBezTo>
                      <a:pt x="952" y="328"/>
                      <a:pt x="898" y="317"/>
                      <a:pt x="847" y="297"/>
                    </a:cubicBezTo>
                    <a:cubicBezTo>
                      <a:pt x="847" y="297"/>
                      <a:pt x="847" y="297"/>
                      <a:pt x="812" y="282"/>
                    </a:cubicBezTo>
                    <a:cubicBezTo>
                      <a:pt x="787" y="272"/>
                      <a:pt x="772" y="247"/>
                      <a:pt x="776" y="220"/>
                    </a:cubicBezTo>
                    <a:cubicBezTo>
                      <a:pt x="780" y="195"/>
                      <a:pt x="801" y="175"/>
                      <a:pt x="828" y="172"/>
                    </a:cubicBezTo>
                    <a:cubicBezTo>
                      <a:pt x="828" y="172"/>
                      <a:pt x="828" y="172"/>
                      <a:pt x="997" y="156"/>
                    </a:cubicBezTo>
                    <a:cubicBezTo>
                      <a:pt x="1021" y="153"/>
                      <a:pt x="1039" y="135"/>
                      <a:pt x="1039" y="111"/>
                    </a:cubicBezTo>
                    <a:cubicBezTo>
                      <a:pt x="1039" y="86"/>
                      <a:pt x="1020" y="66"/>
                      <a:pt x="995" y="64"/>
                    </a:cubicBezTo>
                    <a:cubicBezTo>
                      <a:pt x="995" y="64"/>
                      <a:pt x="995" y="64"/>
                      <a:pt x="562" y="42"/>
                    </a:cubicBezTo>
                    <a:cubicBezTo>
                      <a:pt x="558" y="42"/>
                      <a:pt x="555" y="42"/>
                      <a:pt x="552" y="42"/>
                    </a:cubicBezTo>
                    <a:close/>
                    <a:moveTo>
                      <a:pt x="551" y="0"/>
                    </a:moveTo>
                    <a:cubicBezTo>
                      <a:pt x="555" y="0"/>
                      <a:pt x="559" y="0"/>
                      <a:pt x="563" y="0"/>
                    </a:cubicBezTo>
                    <a:cubicBezTo>
                      <a:pt x="563" y="0"/>
                      <a:pt x="563" y="0"/>
                      <a:pt x="997" y="21"/>
                    </a:cubicBezTo>
                    <a:cubicBezTo>
                      <a:pt x="1045" y="24"/>
                      <a:pt x="1083" y="63"/>
                      <a:pt x="1083" y="112"/>
                    </a:cubicBezTo>
                    <a:cubicBezTo>
                      <a:pt x="1083" y="158"/>
                      <a:pt x="1048" y="197"/>
                      <a:pt x="1001" y="202"/>
                    </a:cubicBezTo>
                    <a:cubicBezTo>
                      <a:pt x="1001" y="202"/>
                      <a:pt x="1001" y="202"/>
                      <a:pt x="832" y="217"/>
                    </a:cubicBezTo>
                    <a:cubicBezTo>
                      <a:pt x="818" y="218"/>
                      <a:pt x="815" y="238"/>
                      <a:pt x="828" y="243"/>
                    </a:cubicBezTo>
                    <a:cubicBezTo>
                      <a:pt x="828" y="243"/>
                      <a:pt x="828" y="243"/>
                      <a:pt x="864" y="257"/>
                    </a:cubicBezTo>
                    <a:cubicBezTo>
                      <a:pt x="910" y="274"/>
                      <a:pt x="959" y="284"/>
                      <a:pt x="1007" y="284"/>
                    </a:cubicBezTo>
                    <a:cubicBezTo>
                      <a:pt x="1042" y="284"/>
                      <a:pt x="1077" y="279"/>
                      <a:pt x="1111" y="269"/>
                    </a:cubicBezTo>
                    <a:cubicBezTo>
                      <a:pt x="1111" y="269"/>
                      <a:pt x="1111" y="269"/>
                      <a:pt x="1120" y="267"/>
                    </a:cubicBezTo>
                    <a:cubicBezTo>
                      <a:pt x="1196" y="246"/>
                      <a:pt x="1265" y="205"/>
                      <a:pt x="1317" y="146"/>
                    </a:cubicBezTo>
                    <a:cubicBezTo>
                      <a:pt x="1317" y="146"/>
                      <a:pt x="1317" y="146"/>
                      <a:pt x="1385" y="70"/>
                    </a:cubicBezTo>
                    <a:cubicBezTo>
                      <a:pt x="1405" y="48"/>
                      <a:pt x="1432" y="37"/>
                      <a:pt x="1459" y="37"/>
                    </a:cubicBezTo>
                    <a:cubicBezTo>
                      <a:pt x="1482" y="37"/>
                      <a:pt x="1507" y="45"/>
                      <a:pt x="1526" y="62"/>
                    </a:cubicBezTo>
                    <a:cubicBezTo>
                      <a:pt x="1565" y="97"/>
                      <a:pt x="1569" y="158"/>
                      <a:pt x="1535" y="198"/>
                    </a:cubicBezTo>
                    <a:cubicBezTo>
                      <a:pt x="1535" y="198"/>
                      <a:pt x="1535" y="198"/>
                      <a:pt x="1468" y="272"/>
                    </a:cubicBezTo>
                    <a:cubicBezTo>
                      <a:pt x="1384" y="371"/>
                      <a:pt x="1274" y="445"/>
                      <a:pt x="1151" y="483"/>
                    </a:cubicBezTo>
                    <a:cubicBezTo>
                      <a:pt x="1151" y="483"/>
                      <a:pt x="1151" y="483"/>
                      <a:pt x="1133" y="489"/>
                    </a:cubicBezTo>
                    <a:cubicBezTo>
                      <a:pt x="1039" y="517"/>
                      <a:pt x="942" y="532"/>
                      <a:pt x="844" y="532"/>
                    </a:cubicBezTo>
                    <a:cubicBezTo>
                      <a:pt x="821" y="532"/>
                      <a:pt x="797" y="531"/>
                      <a:pt x="774" y="529"/>
                    </a:cubicBezTo>
                    <a:cubicBezTo>
                      <a:pt x="774" y="529"/>
                      <a:pt x="774" y="529"/>
                      <a:pt x="605" y="517"/>
                    </a:cubicBezTo>
                    <a:cubicBezTo>
                      <a:pt x="599" y="517"/>
                      <a:pt x="592" y="517"/>
                      <a:pt x="585" y="517"/>
                    </a:cubicBezTo>
                    <a:cubicBezTo>
                      <a:pt x="550" y="517"/>
                      <a:pt x="515" y="523"/>
                      <a:pt x="482" y="536"/>
                    </a:cubicBezTo>
                    <a:cubicBezTo>
                      <a:pt x="482" y="536"/>
                      <a:pt x="482" y="536"/>
                      <a:pt x="30" y="708"/>
                    </a:cubicBezTo>
                    <a:cubicBezTo>
                      <a:pt x="28" y="709"/>
                      <a:pt x="25" y="710"/>
                      <a:pt x="22" y="710"/>
                    </a:cubicBezTo>
                    <a:cubicBezTo>
                      <a:pt x="10" y="710"/>
                      <a:pt x="0" y="700"/>
                      <a:pt x="0" y="689"/>
                    </a:cubicBezTo>
                    <a:cubicBezTo>
                      <a:pt x="0" y="689"/>
                      <a:pt x="0" y="689"/>
                      <a:pt x="0" y="285"/>
                    </a:cubicBezTo>
                    <a:cubicBezTo>
                      <a:pt x="0" y="277"/>
                      <a:pt x="4" y="270"/>
                      <a:pt x="11" y="266"/>
                    </a:cubicBezTo>
                    <a:cubicBezTo>
                      <a:pt x="11" y="266"/>
                      <a:pt x="11" y="266"/>
                      <a:pt x="431" y="30"/>
                    </a:cubicBezTo>
                    <a:cubicBezTo>
                      <a:pt x="468" y="11"/>
                      <a:pt x="509" y="0"/>
                      <a:pt x="551" y="0"/>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6" name="bcgIcons_Group meeting partnership male female ">
            <a:extLst>
              <a:ext uri="{FF2B5EF4-FFF2-40B4-BE49-F238E27FC236}">
                <a16:creationId xmlns:a16="http://schemas.microsoft.com/office/drawing/2014/main" id="{DE847F3E-9F5E-0D50-890C-7871C0B9BC41}"/>
              </a:ext>
            </a:extLst>
          </p:cNvPr>
          <p:cNvGrpSpPr>
            <a:grpSpLocks noChangeAspect="1"/>
          </p:cNvGrpSpPr>
          <p:nvPr/>
        </p:nvGrpSpPr>
        <p:grpSpPr bwMode="auto">
          <a:xfrm>
            <a:off x="3735512" y="4551951"/>
            <a:ext cx="764395" cy="765103"/>
            <a:chOff x="1682" y="0"/>
            <a:chExt cx="4316" cy="4320"/>
          </a:xfrm>
        </p:grpSpPr>
        <p:sp>
          <p:nvSpPr>
            <p:cNvPr id="57" name="AutoShape 3">
              <a:extLst>
                <a:ext uri="{FF2B5EF4-FFF2-40B4-BE49-F238E27FC236}">
                  <a16:creationId xmlns:a16="http://schemas.microsoft.com/office/drawing/2014/main" id="{BB23CCF8-B9F6-0537-CC7E-313B8B83578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
              <a:extLst>
                <a:ext uri="{FF2B5EF4-FFF2-40B4-BE49-F238E27FC236}">
                  <a16:creationId xmlns:a16="http://schemas.microsoft.com/office/drawing/2014/main" id="{F75B3514-0AF6-37C7-B850-581A251726EF}"/>
                </a:ext>
              </a:extLst>
            </p:cNvPr>
            <p:cNvSpPr>
              <a:spLocks noEditPoints="1"/>
            </p:cNvSpPr>
            <p:nvPr/>
          </p:nvSpPr>
          <p:spPr bwMode="auto">
            <a:xfrm>
              <a:off x="1719" y="1206"/>
              <a:ext cx="3591" cy="2480"/>
            </a:xfrm>
            <a:custGeom>
              <a:avLst/>
              <a:gdLst>
                <a:gd name="T0" fmla="*/ 810 w 1917"/>
                <a:gd name="T1" fmla="*/ 183 h 1323"/>
                <a:gd name="T2" fmla="*/ 550 w 1917"/>
                <a:gd name="T3" fmla="*/ 244 h 1323"/>
                <a:gd name="T4" fmla="*/ 400 w 1917"/>
                <a:gd name="T5" fmla="*/ 445 h 1323"/>
                <a:gd name="T6" fmla="*/ 277 w 1917"/>
                <a:gd name="T7" fmla="*/ 338 h 1323"/>
                <a:gd name="T8" fmla="*/ 277 w 1917"/>
                <a:gd name="T9" fmla="*/ 565 h 1323"/>
                <a:gd name="T10" fmla="*/ 271 w 1917"/>
                <a:gd name="T11" fmla="*/ 735 h 1323"/>
                <a:gd name="T12" fmla="*/ 478 w 1917"/>
                <a:gd name="T13" fmla="*/ 0 h 1323"/>
                <a:gd name="T14" fmla="*/ 1633 w 1917"/>
                <a:gd name="T15" fmla="*/ 1122 h 1323"/>
                <a:gd name="T16" fmla="*/ 1132 w 1917"/>
                <a:gd name="T17" fmla="*/ 1279 h 1323"/>
                <a:gd name="T18" fmla="*/ 744 w 1917"/>
                <a:gd name="T19" fmla="*/ 1154 h 1323"/>
                <a:gd name="T20" fmla="*/ 742 w 1917"/>
                <a:gd name="T21" fmla="*/ 1110 h 1323"/>
                <a:gd name="T22" fmla="*/ 646 w 1917"/>
                <a:gd name="T23" fmla="*/ 1114 h 1323"/>
                <a:gd name="T24" fmla="*/ 641 w 1917"/>
                <a:gd name="T25" fmla="*/ 1114 h 1323"/>
                <a:gd name="T26" fmla="*/ 637 w 1917"/>
                <a:gd name="T27" fmla="*/ 1116 h 1323"/>
                <a:gd name="T28" fmla="*/ 634 w 1917"/>
                <a:gd name="T29" fmla="*/ 1119 h 1323"/>
                <a:gd name="T30" fmla="*/ 631 w 1917"/>
                <a:gd name="T31" fmla="*/ 1122 h 1323"/>
                <a:gd name="T32" fmla="*/ 631 w 1917"/>
                <a:gd name="T33" fmla="*/ 1122 h 1323"/>
                <a:gd name="T34" fmla="*/ 628 w 1917"/>
                <a:gd name="T35" fmla="*/ 1126 h 1323"/>
                <a:gd name="T36" fmla="*/ 627 w 1917"/>
                <a:gd name="T37" fmla="*/ 1130 h 1323"/>
                <a:gd name="T38" fmla="*/ 626 w 1917"/>
                <a:gd name="T39" fmla="*/ 1134 h 1323"/>
                <a:gd name="T40" fmla="*/ 626 w 1917"/>
                <a:gd name="T41" fmla="*/ 1138 h 1323"/>
                <a:gd name="T42" fmla="*/ 627 w 1917"/>
                <a:gd name="T43" fmla="*/ 1142 h 1323"/>
                <a:gd name="T44" fmla="*/ 627 w 1917"/>
                <a:gd name="T45" fmla="*/ 1142 h 1323"/>
                <a:gd name="T46" fmla="*/ 679 w 1917"/>
                <a:gd name="T47" fmla="*/ 1248 h 1323"/>
                <a:gd name="T48" fmla="*/ 699 w 1917"/>
                <a:gd name="T49" fmla="*/ 1219 h 1323"/>
                <a:gd name="T50" fmla="*/ 1132 w 1917"/>
                <a:gd name="T51" fmla="*/ 1323 h 1323"/>
                <a:gd name="T52" fmla="*/ 1633 w 1917"/>
                <a:gd name="T53" fmla="*/ 1122 h 1323"/>
                <a:gd name="T54" fmla="*/ 1873 w 1917"/>
                <a:gd name="T55" fmla="*/ 921 h 1323"/>
                <a:gd name="T56" fmla="*/ 1663 w 1917"/>
                <a:gd name="T57" fmla="*/ 799 h 1323"/>
                <a:gd name="T58" fmla="*/ 1635 w 1917"/>
                <a:gd name="T59" fmla="*/ 778 h 1323"/>
                <a:gd name="T60" fmla="*/ 1461 w 1917"/>
                <a:gd name="T61" fmla="*/ 773 h 1323"/>
                <a:gd name="T62" fmla="*/ 1448 w 1917"/>
                <a:gd name="T63" fmla="*/ 570 h 1323"/>
                <a:gd name="T64" fmla="*/ 1361 w 1917"/>
                <a:gd name="T65" fmla="*/ 550 h 1323"/>
                <a:gd name="T66" fmla="*/ 1437 w 1917"/>
                <a:gd name="T67" fmla="*/ 432 h 1323"/>
                <a:gd name="T68" fmla="*/ 1447 w 1917"/>
                <a:gd name="T69" fmla="*/ 319 h 1323"/>
                <a:gd name="T70" fmla="*/ 1414 w 1917"/>
                <a:gd name="T71" fmla="*/ 252 h 1323"/>
                <a:gd name="T72" fmla="*/ 1401 w 1917"/>
                <a:gd name="T73" fmla="*/ 355 h 1323"/>
                <a:gd name="T74" fmla="*/ 1355 w 1917"/>
                <a:gd name="T75" fmla="*/ 482 h 1323"/>
                <a:gd name="T76" fmla="*/ 1409 w 1917"/>
                <a:gd name="T77" fmla="*/ 609 h 1323"/>
                <a:gd name="T78" fmla="*/ 1429 w 1917"/>
                <a:gd name="T79" fmla="*/ 804 h 1323"/>
                <a:gd name="T80" fmla="*/ 1619 w 1917"/>
                <a:gd name="T81" fmla="*/ 824 h 1323"/>
                <a:gd name="T82" fmla="*/ 1639 w 1917"/>
                <a:gd name="T83" fmla="*/ 1012 h 1323"/>
                <a:gd name="T84" fmla="*/ 1907 w 1917"/>
                <a:gd name="T85" fmla="*/ 953 h 1323"/>
                <a:gd name="T86" fmla="*/ 1917 w 1917"/>
                <a:gd name="T87" fmla="*/ 874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17" h="1323">
                  <a:moveTo>
                    <a:pt x="866" y="58"/>
                  </a:moveTo>
                  <a:cubicBezTo>
                    <a:pt x="890" y="58"/>
                    <a:pt x="821" y="133"/>
                    <a:pt x="810" y="183"/>
                  </a:cubicBezTo>
                  <a:cubicBezTo>
                    <a:pt x="809" y="184"/>
                    <a:pt x="808" y="185"/>
                    <a:pt x="807" y="185"/>
                  </a:cubicBezTo>
                  <a:cubicBezTo>
                    <a:pt x="782" y="194"/>
                    <a:pt x="643" y="177"/>
                    <a:pt x="550" y="244"/>
                  </a:cubicBezTo>
                  <a:cubicBezTo>
                    <a:pt x="500" y="280"/>
                    <a:pt x="462" y="339"/>
                    <a:pt x="462" y="439"/>
                  </a:cubicBezTo>
                  <a:cubicBezTo>
                    <a:pt x="462" y="453"/>
                    <a:pt x="412" y="447"/>
                    <a:pt x="400" y="445"/>
                  </a:cubicBezTo>
                  <a:cubicBezTo>
                    <a:pt x="398" y="445"/>
                    <a:pt x="397" y="444"/>
                    <a:pt x="396" y="442"/>
                  </a:cubicBezTo>
                  <a:cubicBezTo>
                    <a:pt x="394" y="421"/>
                    <a:pt x="370" y="288"/>
                    <a:pt x="277" y="338"/>
                  </a:cubicBezTo>
                  <a:cubicBezTo>
                    <a:pt x="189" y="383"/>
                    <a:pt x="270" y="552"/>
                    <a:pt x="276" y="564"/>
                  </a:cubicBezTo>
                  <a:cubicBezTo>
                    <a:pt x="277" y="565"/>
                    <a:pt x="277" y="565"/>
                    <a:pt x="277" y="565"/>
                  </a:cubicBezTo>
                  <a:cubicBezTo>
                    <a:pt x="277" y="733"/>
                    <a:pt x="277" y="733"/>
                    <a:pt x="277" y="733"/>
                  </a:cubicBezTo>
                  <a:cubicBezTo>
                    <a:pt x="277" y="736"/>
                    <a:pt x="273" y="737"/>
                    <a:pt x="271" y="735"/>
                  </a:cubicBezTo>
                  <a:cubicBezTo>
                    <a:pt x="230" y="697"/>
                    <a:pt x="0" y="468"/>
                    <a:pt x="108" y="236"/>
                  </a:cubicBezTo>
                  <a:cubicBezTo>
                    <a:pt x="160" y="127"/>
                    <a:pt x="266" y="0"/>
                    <a:pt x="478" y="0"/>
                  </a:cubicBezTo>
                  <a:cubicBezTo>
                    <a:pt x="720" y="0"/>
                    <a:pt x="641" y="62"/>
                    <a:pt x="866" y="58"/>
                  </a:cubicBezTo>
                  <a:close/>
                  <a:moveTo>
                    <a:pt x="1633" y="1122"/>
                  </a:moveTo>
                  <a:cubicBezTo>
                    <a:pt x="1626" y="1112"/>
                    <a:pt x="1612" y="1111"/>
                    <a:pt x="1602" y="1118"/>
                  </a:cubicBezTo>
                  <a:cubicBezTo>
                    <a:pt x="1467" y="1223"/>
                    <a:pt x="1304" y="1279"/>
                    <a:pt x="1132" y="1279"/>
                  </a:cubicBezTo>
                  <a:cubicBezTo>
                    <a:pt x="981" y="1279"/>
                    <a:pt x="838" y="1236"/>
                    <a:pt x="713" y="1155"/>
                  </a:cubicBezTo>
                  <a:cubicBezTo>
                    <a:pt x="744" y="1154"/>
                    <a:pt x="744" y="1154"/>
                    <a:pt x="744" y="1154"/>
                  </a:cubicBezTo>
                  <a:cubicBezTo>
                    <a:pt x="756" y="1153"/>
                    <a:pt x="766" y="1143"/>
                    <a:pt x="765" y="1131"/>
                  </a:cubicBezTo>
                  <a:cubicBezTo>
                    <a:pt x="765" y="1119"/>
                    <a:pt x="755" y="1109"/>
                    <a:pt x="742" y="1110"/>
                  </a:cubicBezTo>
                  <a:cubicBezTo>
                    <a:pt x="647" y="1113"/>
                    <a:pt x="647" y="1113"/>
                    <a:pt x="647" y="1113"/>
                  </a:cubicBezTo>
                  <a:cubicBezTo>
                    <a:pt x="647" y="1113"/>
                    <a:pt x="646" y="1113"/>
                    <a:pt x="646" y="1114"/>
                  </a:cubicBezTo>
                  <a:cubicBezTo>
                    <a:pt x="645" y="1114"/>
                    <a:pt x="645" y="1114"/>
                    <a:pt x="645" y="1114"/>
                  </a:cubicBezTo>
                  <a:cubicBezTo>
                    <a:pt x="644" y="1114"/>
                    <a:pt x="643" y="1114"/>
                    <a:pt x="641" y="1114"/>
                  </a:cubicBezTo>
                  <a:cubicBezTo>
                    <a:pt x="641" y="1114"/>
                    <a:pt x="641" y="1115"/>
                    <a:pt x="641" y="1115"/>
                  </a:cubicBezTo>
                  <a:cubicBezTo>
                    <a:pt x="640" y="1115"/>
                    <a:pt x="639" y="1116"/>
                    <a:pt x="637" y="1116"/>
                  </a:cubicBezTo>
                  <a:cubicBezTo>
                    <a:pt x="637" y="1116"/>
                    <a:pt x="637" y="1116"/>
                    <a:pt x="637" y="1116"/>
                  </a:cubicBezTo>
                  <a:cubicBezTo>
                    <a:pt x="636" y="1117"/>
                    <a:pt x="635" y="1118"/>
                    <a:pt x="634" y="1119"/>
                  </a:cubicBezTo>
                  <a:cubicBezTo>
                    <a:pt x="634" y="1119"/>
                    <a:pt x="634" y="1119"/>
                    <a:pt x="634" y="1119"/>
                  </a:cubicBezTo>
                  <a:cubicBezTo>
                    <a:pt x="633" y="1120"/>
                    <a:pt x="632" y="1121"/>
                    <a:pt x="631" y="1122"/>
                  </a:cubicBezTo>
                  <a:cubicBezTo>
                    <a:pt x="631" y="1122"/>
                    <a:pt x="631" y="1122"/>
                    <a:pt x="631" y="1122"/>
                  </a:cubicBezTo>
                  <a:cubicBezTo>
                    <a:pt x="631" y="1122"/>
                    <a:pt x="631" y="1122"/>
                    <a:pt x="631" y="1122"/>
                  </a:cubicBezTo>
                  <a:cubicBezTo>
                    <a:pt x="630" y="1122"/>
                    <a:pt x="630" y="1123"/>
                    <a:pt x="630" y="1123"/>
                  </a:cubicBezTo>
                  <a:cubicBezTo>
                    <a:pt x="629" y="1124"/>
                    <a:pt x="629" y="1125"/>
                    <a:pt x="628" y="1126"/>
                  </a:cubicBezTo>
                  <a:cubicBezTo>
                    <a:pt x="628" y="1126"/>
                    <a:pt x="628" y="1126"/>
                    <a:pt x="628" y="1126"/>
                  </a:cubicBezTo>
                  <a:cubicBezTo>
                    <a:pt x="628" y="1127"/>
                    <a:pt x="627" y="1128"/>
                    <a:pt x="627" y="1130"/>
                  </a:cubicBezTo>
                  <a:cubicBezTo>
                    <a:pt x="627" y="1130"/>
                    <a:pt x="627" y="1130"/>
                    <a:pt x="627" y="1130"/>
                  </a:cubicBezTo>
                  <a:cubicBezTo>
                    <a:pt x="627" y="1131"/>
                    <a:pt x="626" y="1132"/>
                    <a:pt x="626" y="1134"/>
                  </a:cubicBezTo>
                  <a:cubicBezTo>
                    <a:pt x="626" y="1134"/>
                    <a:pt x="626" y="1134"/>
                    <a:pt x="626" y="1134"/>
                  </a:cubicBezTo>
                  <a:cubicBezTo>
                    <a:pt x="626" y="1135"/>
                    <a:pt x="626" y="1137"/>
                    <a:pt x="626" y="1138"/>
                  </a:cubicBezTo>
                  <a:cubicBezTo>
                    <a:pt x="626" y="1138"/>
                    <a:pt x="626" y="1138"/>
                    <a:pt x="626" y="1139"/>
                  </a:cubicBezTo>
                  <a:cubicBezTo>
                    <a:pt x="627" y="1140"/>
                    <a:pt x="627" y="1141"/>
                    <a:pt x="627" y="1142"/>
                  </a:cubicBezTo>
                  <a:cubicBezTo>
                    <a:pt x="627" y="1142"/>
                    <a:pt x="627" y="1142"/>
                    <a:pt x="627" y="1142"/>
                  </a:cubicBezTo>
                  <a:cubicBezTo>
                    <a:pt x="627" y="1142"/>
                    <a:pt x="627" y="1142"/>
                    <a:pt x="627" y="1142"/>
                  </a:cubicBezTo>
                  <a:cubicBezTo>
                    <a:pt x="658" y="1233"/>
                    <a:pt x="658" y="1233"/>
                    <a:pt x="658" y="1233"/>
                  </a:cubicBezTo>
                  <a:cubicBezTo>
                    <a:pt x="661" y="1242"/>
                    <a:pt x="669" y="1248"/>
                    <a:pt x="679" y="1248"/>
                  </a:cubicBezTo>
                  <a:cubicBezTo>
                    <a:pt x="681" y="1248"/>
                    <a:pt x="683" y="1247"/>
                    <a:pt x="686" y="1246"/>
                  </a:cubicBezTo>
                  <a:cubicBezTo>
                    <a:pt x="697" y="1243"/>
                    <a:pt x="703" y="1230"/>
                    <a:pt x="699" y="1219"/>
                  </a:cubicBezTo>
                  <a:cubicBezTo>
                    <a:pt x="691" y="1193"/>
                    <a:pt x="691" y="1193"/>
                    <a:pt x="691" y="1193"/>
                  </a:cubicBezTo>
                  <a:cubicBezTo>
                    <a:pt x="822" y="1278"/>
                    <a:pt x="973" y="1323"/>
                    <a:pt x="1132" y="1323"/>
                  </a:cubicBezTo>
                  <a:cubicBezTo>
                    <a:pt x="1314" y="1323"/>
                    <a:pt x="1486" y="1264"/>
                    <a:pt x="1629" y="1153"/>
                  </a:cubicBezTo>
                  <a:cubicBezTo>
                    <a:pt x="1639" y="1145"/>
                    <a:pt x="1641" y="1131"/>
                    <a:pt x="1633" y="1122"/>
                  </a:cubicBezTo>
                  <a:close/>
                  <a:moveTo>
                    <a:pt x="1873" y="887"/>
                  </a:moveTo>
                  <a:cubicBezTo>
                    <a:pt x="1873" y="921"/>
                    <a:pt x="1873" y="921"/>
                    <a:pt x="1873" y="921"/>
                  </a:cubicBezTo>
                  <a:cubicBezTo>
                    <a:pt x="1797" y="963"/>
                    <a:pt x="1703" y="969"/>
                    <a:pt x="1663" y="969"/>
                  </a:cubicBezTo>
                  <a:cubicBezTo>
                    <a:pt x="1663" y="799"/>
                    <a:pt x="1663" y="799"/>
                    <a:pt x="1663" y="799"/>
                  </a:cubicBezTo>
                  <a:cubicBezTo>
                    <a:pt x="1663" y="792"/>
                    <a:pt x="1659" y="785"/>
                    <a:pt x="1653" y="781"/>
                  </a:cubicBezTo>
                  <a:cubicBezTo>
                    <a:pt x="1647" y="778"/>
                    <a:pt x="1641" y="777"/>
                    <a:pt x="1635" y="778"/>
                  </a:cubicBezTo>
                  <a:cubicBezTo>
                    <a:pt x="1629" y="779"/>
                    <a:pt x="1591" y="783"/>
                    <a:pt x="1549" y="783"/>
                  </a:cubicBezTo>
                  <a:cubicBezTo>
                    <a:pt x="1478" y="783"/>
                    <a:pt x="1462" y="774"/>
                    <a:pt x="1461" y="773"/>
                  </a:cubicBezTo>
                  <a:cubicBezTo>
                    <a:pt x="1451" y="759"/>
                    <a:pt x="1448" y="674"/>
                    <a:pt x="1454" y="588"/>
                  </a:cubicBezTo>
                  <a:cubicBezTo>
                    <a:pt x="1455" y="581"/>
                    <a:pt x="1452" y="575"/>
                    <a:pt x="1448" y="570"/>
                  </a:cubicBezTo>
                  <a:cubicBezTo>
                    <a:pt x="1443" y="566"/>
                    <a:pt x="1436" y="564"/>
                    <a:pt x="1430" y="564"/>
                  </a:cubicBezTo>
                  <a:cubicBezTo>
                    <a:pt x="1389" y="569"/>
                    <a:pt x="1368" y="557"/>
                    <a:pt x="1361" y="550"/>
                  </a:cubicBezTo>
                  <a:cubicBezTo>
                    <a:pt x="1363" y="542"/>
                    <a:pt x="1371" y="528"/>
                    <a:pt x="1386" y="514"/>
                  </a:cubicBezTo>
                  <a:cubicBezTo>
                    <a:pt x="1415" y="485"/>
                    <a:pt x="1433" y="444"/>
                    <a:pt x="1437" y="432"/>
                  </a:cubicBezTo>
                  <a:cubicBezTo>
                    <a:pt x="1443" y="418"/>
                    <a:pt x="1444" y="394"/>
                    <a:pt x="1445" y="356"/>
                  </a:cubicBezTo>
                  <a:cubicBezTo>
                    <a:pt x="1445" y="342"/>
                    <a:pt x="1446" y="329"/>
                    <a:pt x="1447" y="319"/>
                  </a:cubicBezTo>
                  <a:cubicBezTo>
                    <a:pt x="1447" y="314"/>
                    <a:pt x="1448" y="307"/>
                    <a:pt x="1449" y="299"/>
                  </a:cubicBezTo>
                  <a:cubicBezTo>
                    <a:pt x="1437" y="284"/>
                    <a:pt x="1425" y="268"/>
                    <a:pt x="1414" y="252"/>
                  </a:cubicBezTo>
                  <a:cubicBezTo>
                    <a:pt x="1409" y="272"/>
                    <a:pt x="1404" y="298"/>
                    <a:pt x="1403" y="316"/>
                  </a:cubicBezTo>
                  <a:cubicBezTo>
                    <a:pt x="1402" y="326"/>
                    <a:pt x="1401" y="340"/>
                    <a:pt x="1401" y="355"/>
                  </a:cubicBezTo>
                  <a:cubicBezTo>
                    <a:pt x="1401" y="375"/>
                    <a:pt x="1400" y="408"/>
                    <a:pt x="1397" y="416"/>
                  </a:cubicBezTo>
                  <a:cubicBezTo>
                    <a:pt x="1388" y="436"/>
                    <a:pt x="1373" y="464"/>
                    <a:pt x="1355" y="482"/>
                  </a:cubicBezTo>
                  <a:cubicBezTo>
                    <a:pt x="1336" y="501"/>
                    <a:pt x="1307" y="540"/>
                    <a:pt x="1318" y="565"/>
                  </a:cubicBezTo>
                  <a:cubicBezTo>
                    <a:pt x="1325" y="581"/>
                    <a:pt x="1352" y="608"/>
                    <a:pt x="1409" y="609"/>
                  </a:cubicBezTo>
                  <a:cubicBezTo>
                    <a:pt x="1408" y="627"/>
                    <a:pt x="1407" y="651"/>
                    <a:pt x="1407" y="677"/>
                  </a:cubicBezTo>
                  <a:cubicBezTo>
                    <a:pt x="1407" y="768"/>
                    <a:pt x="1418" y="792"/>
                    <a:pt x="1429" y="804"/>
                  </a:cubicBezTo>
                  <a:cubicBezTo>
                    <a:pt x="1440" y="815"/>
                    <a:pt x="1464" y="828"/>
                    <a:pt x="1551" y="827"/>
                  </a:cubicBezTo>
                  <a:cubicBezTo>
                    <a:pt x="1565" y="827"/>
                    <a:pt x="1595" y="826"/>
                    <a:pt x="1619" y="824"/>
                  </a:cubicBezTo>
                  <a:cubicBezTo>
                    <a:pt x="1619" y="990"/>
                    <a:pt x="1619" y="990"/>
                    <a:pt x="1619" y="990"/>
                  </a:cubicBezTo>
                  <a:cubicBezTo>
                    <a:pt x="1619" y="1002"/>
                    <a:pt x="1627" y="1012"/>
                    <a:pt x="1639" y="1012"/>
                  </a:cubicBezTo>
                  <a:cubicBezTo>
                    <a:pt x="1640" y="1012"/>
                    <a:pt x="1649" y="1013"/>
                    <a:pt x="1662" y="1013"/>
                  </a:cubicBezTo>
                  <a:cubicBezTo>
                    <a:pt x="1708" y="1013"/>
                    <a:pt x="1818" y="1007"/>
                    <a:pt x="1907" y="953"/>
                  </a:cubicBezTo>
                  <a:cubicBezTo>
                    <a:pt x="1913" y="949"/>
                    <a:pt x="1917" y="942"/>
                    <a:pt x="1917" y="934"/>
                  </a:cubicBezTo>
                  <a:cubicBezTo>
                    <a:pt x="1917" y="874"/>
                    <a:pt x="1917" y="874"/>
                    <a:pt x="1917" y="874"/>
                  </a:cubicBezTo>
                  <a:cubicBezTo>
                    <a:pt x="1901" y="880"/>
                    <a:pt x="1887" y="884"/>
                    <a:pt x="1873" y="887"/>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6">
              <a:extLst>
                <a:ext uri="{FF2B5EF4-FFF2-40B4-BE49-F238E27FC236}">
                  <a16:creationId xmlns:a16="http://schemas.microsoft.com/office/drawing/2014/main" id="{9A4CA23D-7EE2-01FA-32CC-6FE57E4CDFC3}"/>
                </a:ext>
              </a:extLst>
            </p:cNvPr>
            <p:cNvSpPr>
              <a:spLocks noEditPoints="1"/>
            </p:cNvSpPr>
            <p:nvPr/>
          </p:nvSpPr>
          <p:spPr bwMode="auto">
            <a:xfrm>
              <a:off x="2169" y="638"/>
              <a:ext cx="3973" cy="2460"/>
            </a:xfrm>
            <a:custGeom>
              <a:avLst/>
              <a:gdLst>
                <a:gd name="T0" fmla="*/ 592 w 2121"/>
                <a:gd name="T1" fmla="*/ 899 h 1312"/>
                <a:gd name="T2" fmla="*/ 597 w 2121"/>
                <a:gd name="T3" fmla="*/ 1027 h 1312"/>
                <a:gd name="T4" fmla="*/ 388 w 2121"/>
                <a:gd name="T5" fmla="*/ 1136 h 1312"/>
                <a:gd name="T6" fmla="*/ 366 w 2121"/>
                <a:gd name="T7" fmla="*/ 1312 h 1312"/>
                <a:gd name="T8" fmla="*/ 14 w 2121"/>
                <a:gd name="T9" fmla="*/ 1251 h 1312"/>
                <a:gd name="T10" fmla="*/ 0 w 2121"/>
                <a:gd name="T11" fmla="*/ 1070 h 1312"/>
                <a:gd name="T12" fmla="*/ 44 w 2121"/>
                <a:gd name="T13" fmla="*/ 1103 h 1312"/>
                <a:gd name="T14" fmla="*/ 344 w 2121"/>
                <a:gd name="T15" fmla="*/ 1268 h 1312"/>
                <a:gd name="T16" fmla="*/ 351 w 2121"/>
                <a:gd name="T17" fmla="*/ 1095 h 1312"/>
                <a:gd name="T18" fmla="*/ 546 w 2121"/>
                <a:gd name="T19" fmla="*/ 1088 h 1312"/>
                <a:gd name="T20" fmla="*/ 554 w 2121"/>
                <a:gd name="T21" fmla="*/ 1018 h 1312"/>
                <a:gd name="T22" fmla="*/ 552 w 2121"/>
                <a:gd name="T23" fmla="*/ 861 h 1312"/>
                <a:gd name="T24" fmla="*/ 639 w 2121"/>
                <a:gd name="T25" fmla="*/ 838 h 1312"/>
                <a:gd name="T26" fmla="*/ 600 w 2121"/>
                <a:gd name="T27" fmla="*/ 791 h 1312"/>
                <a:gd name="T28" fmla="*/ 547 w 2121"/>
                <a:gd name="T29" fmla="*/ 656 h 1312"/>
                <a:gd name="T30" fmla="*/ 529 w 2121"/>
                <a:gd name="T31" fmla="*/ 536 h 1312"/>
                <a:gd name="T32" fmla="*/ 573 w 2121"/>
                <a:gd name="T33" fmla="*/ 532 h 1312"/>
                <a:gd name="T34" fmla="*/ 591 w 2121"/>
                <a:gd name="T35" fmla="*/ 652 h 1312"/>
                <a:gd name="T36" fmla="*/ 633 w 2121"/>
                <a:gd name="T37" fmla="*/ 761 h 1312"/>
                <a:gd name="T38" fmla="*/ 682 w 2121"/>
                <a:gd name="T39" fmla="*/ 850 h 1312"/>
                <a:gd name="T40" fmla="*/ 1397 w 2121"/>
                <a:gd name="T41" fmla="*/ 193 h 1312"/>
                <a:gd name="T42" fmla="*/ 1398 w 2121"/>
                <a:gd name="T43" fmla="*/ 189 h 1312"/>
                <a:gd name="T44" fmla="*/ 1398 w 2121"/>
                <a:gd name="T45" fmla="*/ 184 h 1312"/>
                <a:gd name="T46" fmla="*/ 1397 w 2121"/>
                <a:gd name="T47" fmla="*/ 181 h 1312"/>
                <a:gd name="T48" fmla="*/ 1366 w 2121"/>
                <a:gd name="T49" fmla="*/ 90 h 1312"/>
                <a:gd name="T50" fmla="*/ 1325 w 2121"/>
                <a:gd name="T51" fmla="*/ 104 h 1312"/>
                <a:gd name="T52" fmla="*/ 892 w 2121"/>
                <a:gd name="T53" fmla="*/ 0 h 1312"/>
                <a:gd name="T54" fmla="*/ 391 w 2121"/>
                <a:gd name="T55" fmla="*/ 201 h 1312"/>
                <a:gd name="T56" fmla="*/ 422 w 2121"/>
                <a:gd name="T57" fmla="*/ 205 h 1312"/>
                <a:gd name="T58" fmla="*/ 1311 w 2121"/>
                <a:gd name="T59" fmla="*/ 168 h 1312"/>
                <a:gd name="T60" fmla="*/ 1259 w 2121"/>
                <a:gd name="T61" fmla="*/ 192 h 1312"/>
                <a:gd name="T62" fmla="*/ 1282 w 2121"/>
                <a:gd name="T63" fmla="*/ 213 h 1312"/>
                <a:gd name="T64" fmla="*/ 1378 w 2121"/>
                <a:gd name="T65" fmla="*/ 209 h 1312"/>
                <a:gd name="T66" fmla="*/ 1383 w 2121"/>
                <a:gd name="T67" fmla="*/ 209 h 1312"/>
                <a:gd name="T68" fmla="*/ 1387 w 2121"/>
                <a:gd name="T69" fmla="*/ 207 h 1312"/>
                <a:gd name="T70" fmla="*/ 1390 w 2121"/>
                <a:gd name="T71" fmla="*/ 204 h 1312"/>
                <a:gd name="T72" fmla="*/ 1393 w 2121"/>
                <a:gd name="T73" fmla="*/ 201 h 1312"/>
                <a:gd name="T74" fmla="*/ 1393 w 2121"/>
                <a:gd name="T75" fmla="*/ 201 h 1312"/>
                <a:gd name="T76" fmla="*/ 1395 w 2121"/>
                <a:gd name="T77" fmla="*/ 197 h 1312"/>
                <a:gd name="T78" fmla="*/ 1397 w 2121"/>
                <a:gd name="T79" fmla="*/ 193 h 1312"/>
                <a:gd name="T80" fmla="*/ 1695 w 2121"/>
                <a:gd name="T81" fmla="*/ 891 h 1312"/>
                <a:gd name="T82" fmla="*/ 1884 w 2121"/>
                <a:gd name="T83" fmla="*/ 545 h 1312"/>
                <a:gd name="T84" fmla="*/ 1180 w 2121"/>
                <a:gd name="T85" fmla="*/ 483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21" h="1312">
                  <a:moveTo>
                    <a:pt x="682" y="850"/>
                  </a:moveTo>
                  <a:cubicBezTo>
                    <a:pt x="678" y="862"/>
                    <a:pt x="660" y="897"/>
                    <a:pt x="592" y="899"/>
                  </a:cubicBezTo>
                  <a:cubicBezTo>
                    <a:pt x="595" y="931"/>
                    <a:pt x="600" y="985"/>
                    <a:pt x="597" y="1021"/>
                  </a:cubicBezTo>
                  <a:cubicBezTo>
                    <a:pt x="597" y="1027"/>
                    <a:pt x="597" y="1027"/>
                    <a:pt x="597" y="1027"/>
                  </a:cubicBezTo>
                  <a:cubicBezTo>
                    <a:pt x="593" y="1083"/>
                    <a:pt x="591" y="1113"/>
                    <a:pt x="567" y="1126"/>
                  </a:cubicBezTo>
                  <a:cubicBezTo>
                    <a:pt x="548" y="1136"/>
                    <a:pt x="479" y="1146"/>
                    <a:pt x="388" y="1136"/>
                  </a:cubicBezTo>
                  <a:cubicBezTo>
                    <a:pt x="388" y="1290"/>
                    <a:pt x="388" y="1290"/>
                    <a:pt x="388" y="1290"/>
                  </a:cubicBezTo>
                  <a:cubicBezTo>
                    <a:pt x="388" y="1302"/>
                    <a:pt x="378" y="1312"/>
                    <a:pt x="366" y="1312"/>
                  </a:cubicBezTo>
                  <a:cubicBezTo>
                    <a:pt x="366" y="1312"/>
                    <a:pt x="365" y="1312"/>
                    <a:pt x="365" y="1312"/>
                  </a:cubicBezTo>
                  <a:cubicBezTo>
                    <a:pt x="350" y="1312"/>
                    <a:pt x="161" y="1311"/>
                    <a:pt x="14" y="1251"/>
                  </a:cubicBezTo>
                  <a:cubicBezTo>
                    <a:pt x="5" y="1247"/>
                    <a:pt x="0" y="1239"/>
                    <a:pt x="0" y="1230"/>
                  </a:cubicBezTo>
                  <a:cubicBezTo>
                    <a:pt x="0" y="1070"/>
                    <a:pt x="0" y="1070"/>
                    <a:pt x="0" y="1070"/>
                  </a:cubicBezTo>
                  <a:cubicBezTo>
                    <a:pt x="0" y="1070"/>
                    <a:pt x="0" y="1070"/>
                    <a:pt x="1" y="1070"/>
                  </a:cubicBezTo>
                  <a:cubicBezTo>
                    <a:pt x="7" y="1076"/>
                    <a:pt x="28" y="1093"/>
                    <a:pt x="44" y="1103"/>
                  </a:cubicBezTo>
                  <a:cubicBezTo>
                    <a:pt x="44" y="1215"/>
                    <a:pt x="44" y="1215"/>
                    <a:pt x="44" y="1215"/>
                  </a:cubicBezTo>
                  <a:cubicBezTo>
                    <a:pt x="155" y="1257"/>
                    <a:pt x="291" y="1266"/>
                    <a:pt x="344" y="1268"/>
                  </a:cubicBezTo>
                  <a:cubicBezTo>
                    <a:pt x="344" y="1112"/>
                    <a:pt x="344" y="1112"/>
                    <a:pt x="344" y="1112"/>
                  </a:cubicBezTo>
                  <a:cubicBezTo>
                    <a:pt x="344" y="1105"/>
                    <a:pt x="346" y="1099"/>
                    <a:pt x="351" y="1095"/>
                  </a:cubicBezTo>
                  <a:cubicBezTo>
                    <a:pt x="356" y="1091"/>
                    <a:pt x="362" y="1089"/>
                    <a:pt x="369" y="1090"/>
                  </a:cubicBezTo>
                  <a:cubicBezTo>
                    <a:pt x="466" y="1103"/>
                    <a:pt x="531" y="1093"/>
                    <a:pt x="546" y="1088"/>
                  </a:cubicBezTo>
                  <a:cubicBezTo>
                    <a:pt x="550" y="1079"/>
                    <a:pt x="551" y="1050"/>
                    <a:pt x="553" y="1024"/>
                  </a:cubicBezTo>
                  <a:cubicBezTo>
                    <a:pt x="554" y="1018"/>
                    <a:pt x="554" y="1018"/>
                    <a:pt x="554" y="1018"/>
                  </a:cubicBezTo>
                  <a:cubicBezTo>
                    <a:pt x="557" y="970"/>
                    <a:pt x="546" y="880"/>
                    <a:pt x="546" y="879"/>
                  </a:cubicBezTo>
                  <a:cubicBezTo>
                    <a:pt x="545" y="873"/>
                    <a:pt x="547" y="866"/>
                    <a:pt x="552" y="861"/>
                  </a:cubicBezTo>
                  <a:cubicBezTo>
                    <a:pt x="556" y="856"/>
                    <a:pt x="563" y="854"/>
                    <a:pt x="570" y="855"/>
                  </a:cubicBezTo>
                  <a:cubicBezTo>
                    <a:pt x="614" y="859"/>
                    <a:pt x="634" y="847"/>
                    <a:pt x="639" y="838"/>
                  </a:cubicBezTo>
                  <a:cubicBezTo>
                    <a:pt x="635" y="829"/>
                    <a:pt x="617" y="809"/>
                    <a:pt x="608" y="800"/>
                  </a:cubicBezTo>
                  <a:cubicBezTo>
                    <a:pt x="606" y="797"/>
                    <a:pt x="603" y="794"/>
                    <a:pt x="600" y="791"/>
                  </a:cubicBezTo>
                  <a:cubicBezTo>
                    <a:pt x="580" y="769"/>
                    <a:pt x="564" y="731"/>
                    <a:pt x="554" y="702"/>
                  </a:cubicBezTo>
                  <a:cubicBezTo>
                    <a:pt x="550" y="690"/>
                    <a:pt x="549" y="674"/>
                    <a:pt x="547" y="656"/>
                  </a:cubicBezTo>
                  <a:cubicBezTo>
                    <a:pt x="546" y="639"/>
                    <a:pt x="544" y="619"/>
                    <a:pt x="540" y="606"/>
                  </a:cubicBezTo>
                  <a:cubicBezTo>
                    <a:pt x="533" y="586"/>
                    <a:pt x="530" y="556"/>
                    <a:pt x="529" y="536"/>
                  </a:cubicBezTo>
                  <a:cubicBezTo>
                    <a:pt x="530" y="536"/>
                    <a:pt x="530" y="536"/>
                    <a:pt x="530" y="536"/>
                  </a:cubicBezTo>
                  <a:cubicBezTo>
                    <a:pt x="549" y="535"/>
                    <a:pt x="562" y="534"/>
                    <a:pt x="573" y="532"/>
                  </a:cubicBezTo>
                  <a:cubicBezTo>
                    <a:pt x="574" y="551"/>
                    <a:pt x="576" y="577"/>
                    <a:pt x="581" y="592"/>
                  </a:cubicBezTo>
                  <a:cubicBezTo>
                    <a:pt x="587" y="610"/>
                    <a:pt x="589" y="633"/>
                    <a:pt x="591" y="652"/>
                  </a:cubicBezTo>
                  <a:cubicBezTo>
                    <a:pt x="592" y="666"/>
                    <a:pt x="593" y="681"/>
                    <a:pt x="596" y="687"/>
                  </a:cubicBezTo>
                  <a:cubicBezTo>
                    <a:pt x="608" y="722"/>
                    <a:pt x="621" y="749"/>
                    <a:pt x="633" y="761"/>
                  </a:cubicBezTo>
                  <a:cubicBezTo>
                    <a:pt x="635" y="764"/>
                    <a:pt x="638" y="767"/>
                    <a:pt x="641" y="770"/>
                  </a:cubicBezTo>
                  <a:cubicBezTo>
                    <a:pt x="667" y="798"/>
                    <a:pt x="691" y="824"/>
                    <a:pt x="682" y="850"/>
                  </a:cubicBezTo>
                  <a:close/>
                  <a:moveTo>
                    <a:pt x="1397" y="193"/>
                  </a:moveTo>
                  <a:cubicBezTo>
                    <a:pt x="1397" y="193"/>
                    <a:pt x="1397" y="193"/>
                    <a:pt x="1397" y="193"/>
                  </a:cubicBezTo>
                  <a:cubicBezTo>
                    <a:pt x="1397" y="192"/>
                    <a:pt x="1398" y="191"/>
                    <a:pt x="1398" y="189"/>
                  </a:cubicBezTo>
                  <a:cubicBezTo>
                    <a:pt x="1398" y="189"/>
                    <a:pt x="1398" y="189"/>
                    <a:pt x="1398" y="189"/>
                  </a:cubicBezTo>
                  <a:cubicBezTo>
                    <a:pt x="1398" y="188"/>
                    <a:pt x="1398" y="186"/>
                    <a:pt x="1398" y="185"/>
                  </a:cubicBezTo>
                  <a:cubicBezTo>
                    <a:pt x="1398" y="185"/>
                    <a:pt x="1398" y="185"/>
                    <a:pt x="1398" y="184"/>
                  </a:cubicBezTo>
                  <a:cubicBezTo>
                    <a:pt x="1397" y="183"/>
                    <a:pt x="1397" y="182"/>
                    <a:pt x="1397" y="181"/>
                  </a:cubicBezTo>
                  <a:cubicBezTo>
                    <a:pt x="1397" y="181"/>
                    <a:pt x="1397" y="181"/>
                    <a:pt x="1397" y="181"/>
                  </a:cubicBezTo>
                  <a:cubicBezTo>
                    <a:pt x="1397" y="181"/>
                    <a:pt x="1397" y="181"/>
                    <a:pt x="1397" y="181"/>
                  </a:cubicBezTo>
                  <a:cubicBezTo>
                    <a:pt x="1366" y="90"/>
                    <a:pt x="1366" y="90"/>
                    <a:pt x="1366" y="90"/>
                  </a:cubicBezTo>
                  <a:cubicBezTo>
                    <a:pt x="1362" y="79"/>
                    <a:pt x="1350" y="73"/>
                    <a:pt x="1338" y="77"/>
                  </a:cubicBezTo>
                  <a:cubicBezTo>
                    <a:pt x="1327" y="80"/>
                    <a:pt x="1321" y="93"/>
                    <a:pt x="1325" y="104"/>
                  </a:cubicBezTo>
                  <a:cubicBezTo>
                    <a:pt x="1333" y="130"/>
                    <a:pt x="1333" y="130"/>
                    <a:pt x="1333" y="130"/>
                  </a:cubicBezTo>
                  <a:cubicBezTo>
                    <a:pt x="1202" y="45"/>
                    <a:pt x="1051" y="0"/>
                    <a:pt x="892" y="0"/>
                  </a:cubicBezTo>
                  <a:cubicBezTo>
                    <a:pt x="710" y="0"/>
                    <a:pt x="538" y="59"/>
                    <a:pt x="395" y="170"/>
                  </a:cubicBezTo>
                  <a:cubicBezTo>
                    <a:pt x="385" y="178"/>
                    <a:pt x="383" y="192"/>
                    <a:pt x="391" y="201"/>
                  </a:cubicBezTo>
                  <a:cubicBezTo>
                    <a:pt x="395" y="207"/>
                    <a:pt x="402" y="210"/>
                    <a:pt x="408" y="210"/>
                  </a:cubicBezTo>
                  <a:cubicBezTo>
                    <a:pt x="413" y="210"/>
                    <a:pt x="418" y="208"/>
                    <a:pt x="422" y="205"/>
                  </a:cubicBezTo>
                  <a:cubicBezTo>
                    <a:pt x="557" y="100"/>
                    <a:pt x="720" y="44"/>
                    <a:pt x="892" y="44"/>
                  </a:cubicBezTo>
                  <a:cubicBezTo>
                    <a:pt x="1043" y="44"/>
                    <a:pt x="1186" y="87"/>
                    <a:pt x="1311" y="168"/>
                  </a:cubicBezTo>
                  <a:cubicBezTo>
                    <a:pt x="1280" y="169"/>
                    <a:pt x="1280" y="169"/>
                    <a:pt x="1280" y="169"/>
                  </a:cubicBezTo>
                  <a:cubicBezTo>
                    <a:pt x="1268" y="170"/>
                    <a:pt x="1258" y="180"/>
                    <a:pt x="1259" y="192"/>
                  </a:cubicBezTo>
                  <a:cubicBezTo>
                    <a:pt x="1259" y="204"/>
                    <a:pt x="1269" y="213"/>
                    <a:pt x="1281" y="213"/>
                  </a:cubicBezTo>
                  <a:cubicBezTo>
                    <a:pt x="1281" y="213"/>
                    <a:pt x="1281" y="213"/>
                    <a:pt x="1282" y="213"/>
                  </a:cubicBezTo>
                  <a:cubicBezTo>
                    <a:pt x="1377" y="210"/>
                    <a:pt x="1377" y="210"/>
                    <a:pt x="1377" y="210"/>
                  </a:cubicBezTo>
                  <a:cubicBezTo>
                    <a:pt x="1377" y="210"/>
                    <a:pt x="1378" y="210"/>
                    <a:pt x="1378" y="209"/>
                  </a:cubicBezTo>
                  <a:cubicBezTo>
                    <a:pt x="1379" y="209"/>
                    <a:pt x="1379" y="209"/>
                    <a:pt x="1379" y="209"/>
                  </a:cubicBezTo>
                  <a:cubicBezTo>
                    <a:pt x="1380" y="209"/>
                    <a:pt x="1381" y="209"/>
                    <a:pt x="1383" y="209"/>
                  </a:cubicBezTo>
                  <a:cubicBezTo>
                    <a:pt x="1383" y="209"/>
                    <a:pt x="1383" y="208"/>
                    <a:pt x="1383" y="208"/>
                  </a:cubicBezTo>
                  <a:cubicBezTo>
                    <a:pt x="1384" y="208"/>
                    <a:pt x="1385" y="207"/>
                    <a:pt x="1387" y="207"/>
                  </a:cubicBezTo>
                  <a:cubicBezTo>
                    <a:pt x="1387" y="207"/>
                    <a:pt x="1387" y="207"/>
                    <a:pt x="1387" y="207"/>
                  </a:cubicBezTo>
                  <a:cubicBezTo>
                    <a:pt x="1388" y="206"/>
                    <a:pt x="1389" y="205"/>
                    <a:pt x="1390" y="204"/>
                  </a:cubicBezTo>
                  <a:cubicBezTo>
                    <a:pt x="1390" y="204"/>
                    <a:pt x="1390" y="204"/>
                    <a:pt x="1390" y="204"/>
                  </a:cubicBezTo>
                  <a:cubicBezTo>
                    <a:pt x="1391" y="203"/>
                    <a:pt x="1392" y="202"/>
                    <a:pt x="1393" y="201"/>
                  </a:cubicBezTo>
                  <a:cubicBezTo>
                    <a:pt x="1393" y="201"/>
                    <a:pt x="1393" y="201"/>
                    <a:pt x="1393" y="201"/>
                  </a:cubicBezTo>
                  <a:cubicBezTo>
                    <a:pt x="1393" y="201"/>
                    <a:pt x="1393" y="201"/>
                    <a:pt x="1393" y="201"/>
                  </a:cubicBezTo>
                  <a:cubicBezTo>
                    <a:pt x="1394" y="201"/>
                    <a:pt x="1394" y="200"/>
                    <a:pt x="1394" y="200"/>
                  </a:cubicBezTo>
                  <a:cubicBezTo>
                    <a:pt x="1395" y="199"/>
                    <a:pt x="1395" y="198"/>
                    <a:pt x="1395" y="197"/>
                  </a:cubicBezTo>
                  <a:cubicBezTo>
                    <a:pt x="1396" y="197"/>
                    <a:pt x="1396" y="197"/>
                    <a:pt x="1396" y="197"/>
                  </a:cubicBezTo>
                  <a:cubicBezTo>
                    <a:pt x="1396" y="196"/>
                    <a:pt x="1397" y="195"/>
                    <a:pt x="1397" y="193"/>
                  </a:cubicBezTo>
                  <a:close/>
                  <a:moveTo>
                    <a:pt x="1180" y="483"/>
                  </a:moveTo>
                  <a:cubicBezTo>
                    <a:pt x="1325" y="744"/>
                    <a:pt x="1695" y="891"/>
                    <a:pt x="1695" y="891"/>
                  </a:cubicBezTo>
                  <a:cubicBezTo>
                    <a:pt x="1751" y="1021"/>
                    <a:pt x="1566" y="1128"/>
                    <a:pt x="1584" y="1149"/>
                  </a:cubicBezTo>
                  <a:cubicBezTo>
                    <a:pt x="1602" y="1170"/>
                    <a:pt x="2121" y="1036"/>
                    <a:pt x="1884" y="545"/>
                  </a:cubicBezTo>
                  <a:cubicBezTo>
                    <a:pt x="1832" y="438"/>
                    <a:pt x="1708" y="327"/>
                    <a:pt x="1502" y="327"/>
                  </a:cubicBezTo>
                  <a:cubicBezTo>
                    <a:pt x="1267" y="327"/>
                    <a:pt x="1170" y="434"/>
                    <a:pt x="1180" y="483"/>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 name="Oval 10">
            <a:extLst>
              <a:ext uri="{FF2B5EF4-FFF2-40B4-BE49-F238E27FC236}">
                <a16:creationId xmlns:a16="http://schemas.microsoft.com/office/drawing/2014/main" id="{5B277510-1DA3-75F9-A23B-BA00FD41B6E3}"/>
              </a:ext>
            </a:extLst>
          </p:cNvPr>
          <p:cNvSpPr>
            <a:spLocks noChangeArrowheads="1"/>
          </p:cNvSpPr>
          <p:nvPr/>
        </p:nvSpPr>
        <p:spPr bwMode="auto">
          <a:xfrm>
            <a:off x="5402126" y="4271172"/>
            <a:ext cx="1326665" cy="1326662"/>
          </a:xfrm>
          <a:prstGeom prst="ellipse">
            <a:avLst/>
          </a:pr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24C54FB9-DCC3-8867-6181-F1B1C1BDA7AF}"/>
              </a:ext>
            </a:extLst>
          </p:cNvPr>
          <p:cNvSpPr txBox="1"/>
          <p:nvPr/>
        </p:nvSpPr>
        <p:spPr>
          <a:xfrm>
            <a:off x="7240374" y="40404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grpSp>
        <p:nvGrpSpPr>
          <p:cNvPr id="70" name="bcgIcons_Stop Watch ">
            <a:extLst>
              <a:ext uri="{FF2B5EF4-FFF2-40B4-BE49-F238E27FC236}">
                <a16:creationId xmlns:a16="http://schemas.microsoft.com/office/drawing/2014/main" id="{21B37C5B-F779-9DCD-8801-3EAFC295F111}"/>
              </a:ext>
            </a:extLst>
          </p:cNvPr>
          <p:cNvGrpSpPr>
            <a:grpSpLocks noChangeAspect="1"/>
          </p:cNvGrpSpPr>
          <p:nvPr/>
        </p:nvGrpSpPr>
        <p:grpSpPr>
          <a:xfrm>
            <a:off x="5682850" y="4551951"/>
            <a:ext cx="765841" cy="765103"/>
            <a:chOff x="5273675" y="2606675"/>
            <a:chExt cx="1646238" cy="1644650"/>
          </a:xfrm>
        </p:grpSpPr>
        <p:sp>
          <p:nvSpPr>
            <p:cNvPr id="71" name="AutoShape 3">
              <a:extLst>
                <a:ext uri="{FF2B5EF4-FFF2-40B4-BE49-F238E27FC236}">
                  <a16:creationId xmlns:a16="http://schemas.microsoft.com/office/drawing/2014/main" id="{B7DE854A-4996-CF23-6107-B329F4DB603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 name="Group 71">
              <a:extLst>
                <a:ext uri="{FF2B5EF4-FFF2-40B4-BE49-F238E27FC236}">
                  <a16:creationId xmlns:a16="http://schemas.microsoft.com/office/drawing/2014/main" id="{9A245407-3CC6-FF61-0F78-F9964135BD8B}"/>
                </a:ext>
              </a:extLst>
            </p:cNvPr>
            <p:cNvGrpSpPr/>
            <p:nvPr/>
          </p:nvGrpSpPr>
          <p:grpSpPr>
            <a:xfrm>
              <a:off x="5565774" y="2776538"/>
              <a:ext cx="1062038" cy="1322388"/>
              <a:chOff x="5565774" y="2776538"/>
              <a:chExt cx="1062038" cy="1322388"/>
            </a:xfrm>
          </p:grpSpPr>
          <p:sp>
            <p:nvSpPr>
              <p:cNvPr id="73" name="Freeform 72">
                <a:extLst>
                  <a:ext uri="{FF2B5EF4-FFF2-40B4-BE49-F238E27FC236}">
                    <a16:creationId xmlns:a16="http://schemas.microsoft.com/office/drawing/2014/main" id="{465F5DFB-ACD1-E10A-D02F-5DA048C01C7D}"/>
                  </a:ext>
                </a:extLst>
              </p:cNvPr>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4" name="Freeform 73">
                <a:extLst>
                  <a:ext uri="{FF2B5EF4-FFF2-40B4-BE49-F238E27FC236}">
                    <a16:creationId xmlns:a16="http://schemas.microsoft.com/office/drawing/2014/main" id="{FBAFCDC7-66E6-4B23-D343-3F85C151AD1D}"/>
                  </a:ext>
                </a:extLst>
              </p:cNvPr>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14" name="Picture 13">
            <a:extLst>
              <a:ext uri="{FF2B5EF4-FFF2-40B4-BE49-F238E27FC236}">
                <a16:creationId xmlns:a16="http://schemas.microsoft.com/office/drawing/2014/main" id="{076A0070-A4C8-10F2-6859-A405915F7A31}"/>
              </a:ext>
            </a:extLst>
          </p:cNvPr>
          <p:cNvPicPr>
            <a:picLocks noChangeAspect="1"/>
          </p:cNvPicPr>
          <p:nvPr/>
        </p:nvPicPr>
        <p:blipFill>
          <a:blip r:embed="rId5"/>
          <a:srcRect t="23510" b="29991"/>
          <a:stretch>
            <a:fillRect/>
          </a:stretch>
        </p:blipFill>
        <p:spPr>
          <a:xfrm>
            <a:off x="0" y="985"/>
            <a:ext cx="12192000" cy="1665419"/>
          </a:xfrm>
          <a:prstGeom prst="rect">
            <a:avLst/>
          </a:prstGeom>
        </p:spPr>
      </p:pic>
      <p:sp>
        <p:nvSpPr>
          <p:cNvPr id="16" name="Rectangle 15">
            <a:extLst>
              <a:ext uri="{FF2B5EF4-FFF2-40B4-BE49-F238E27FC236}">
                <a16:creationId xmlns:a16="http://schemas.microsoft.com/office/drawing/2014/main" id="{C7D549C8-65C6-0140-0A9A-D6970EC9C8C6}"/>
              </a:ext>
            </a:extLst>
          </p:cNvPr>
          <p:cNvSpPr/>
          <p:nvPr/>
        </p:nvSpPr>
        <p:spPr>
          <a:xfrm>
            <a:off x="-3327" y="-8422"/>
            <a:ext cx="12192000" cy="1668044"/>
          </a:xfrm>
          <a:prstGeom prst="rect">
            <a:avLst/>
          </a:prstGeom>
          <a:solidFill>
            <a:srgbClr val="63666A">
              <a:alpha val="54902"/>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lumMod val="50000"/>
                </a:schemeClr>
              </a:solidFill>
            </a:endParaRPr>
          </a:p>
        </p:txBody>
      </p:sp>
      <p:sp>
        <p:nvSpPr>
          <p:cNvPr id="17" name="Title 20">
            <a:extLst>
              <a:ext uri="{FF2B5EF4-FFF2-40B4-BE49-F238E27FC236}">
                <a16:creationId xmlns:a16="http://schemas.microsoft.com/office/drawing/2014/main" id="{B69F4A2B-EAC2-FA69-D221-D4E05D21ACE4}"/>
              </a:ext>
            </a:extLst>
          </p:cNvPr>
          <p:cNvSpPr txBox="1">
            <a:spLocks/>
          </p:cNvSpPr>
          <p:nvPr/>
        </p:nvSpPr>
        <p:spPr>
          <a:xfrm>
            <a:off x="630238" y="622300"/>
            <a:ext cx="10933112"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3200" dirty="0">
                <a:solidFill>
                  <a:schemeClr val="bg1"/>
                </a:solidFill>
                <a:latin typeface="Gill Sans MT" panose="020B0502020104020203" pitchFamily="34" charset="0"/>
              </a:rPr>
              <a:t>Quality parts, timely delivery and clear communication</a:t>
            </a:r>
          </a:p>
        </p:txBody>
      </p:sp>
      <p:sp>
        <p:nvSpPr>
          <p:cNvPr id="9" name="TextBox 8">
            <a:extLst>
              <a:ext uri="{FF2B5EF4-FFF2-40B4-BE49-F238E27FC236}">
                <a16:creationId xmlns:a16="http://schemas.microsoft.com/office/drawing/2014/main" id="{D5380200-78A7-D4F4-7201-B4EF97E36993}"/>
              </a:ext>
            </a:extLst>
          </p:cNvPr>
          <p:cNvSpPr txBox="1"/>
          <p:nvPr/>
        </p:nvSpPr>
        <p:spPr>
          <a:xfrm>
            <a:off x="630237" y="2289319"/>
            <a:ext cx="1823451" cy="3700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200" dirty="0">
                <a:solidFill>
                  <a:schemeClr val="tx1">
                    <a:lumMod val="50000"/>
                  </a:schemeClr>
                </a:solidFill>
                <a:latin typeface="Gill Sans MT" panose="020B0502020104020203" pitchFamily="34" charset="0"/>
              </a:rPr>
              <a:t>Our core principals</a:t>
            </a:r>
          </a:p>
        </p:txBody>
      </p:sp>
      <p:cxnSp>
        <p:nvCxnSpPr>
          <p:cNvPr id="11" name="Straight Connector 10">
            <a:extLst>
              <a:ext uri="{FF2B5EF4-FFF2-40B4-BE49-F238E27FC236}">
                <a16:creationId xmlns:a16="http://schemas.microsoft.com/office/drawing/2014/main" id="{F25E7E32-30FF-FEBF-8805-45ABA0B18A82}"/>
              </a:ext>
            </a:extLst>
          </p:cNvPr>
          <p:cNvCxnSpPr>
            <a:cxnSpLocks/>
          </p:cNvCxnSpPr>
          <p:nvPr/>
        </p:nvCxnSpPr>
        <p:spPr>
          <a:xfrm>
            <a:off x="2770972" y="1745493"/>
            <a:ext cx="15567" cy="5112507"/>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3EAF352-7D66-05C7-8390-AD726A913A36}"/>
              </a:ext>
            </a:extLst>
          </p:cNvPr>
          <p:cNvCxnSpPr>
            <a:cxnSpLocks/>
          </p:cNvCxnSpPr>
          <p:nvPr/>
        </p:nvCxnSpPr>
        <p:spPr>
          <a:xfrm flipH="1">
            <a:off x="5682850" y="2445488"/>
            <a:ext cx="765841" cy="0"/>
          </a:xfrm>
          <a:prstGeom prst="line">
            <a:avLst/>
          </a:prstGeom>
          <a:ln w="19050" cap="rnd">
            <a:solidFill>
              <a:srgbClr val="313335"/>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843A44D-409D-390E-5A45-45FB8B40910E}"/>
              </a:ext>
            </a:extLst>
          </p:cNvPr>
          <p:cNvCxnSpPr>
            <a:cxnSpLocks/>
          </p:cNvCxnSpPr>
          <p:nvPr/>
        </p:nvCxnSpPr>
        <p:spPr>
          <a:xfrm flipH="1">
            <a:off x="6448691" y="3629505"/>
            <a:ext cx="678865" cy="0"/>
          </a:xfrm>
          <a:prstGeom prst="line">
            <a:avLst/>
          </a:prstGeom>
          <a:ln w="19050" cap="rnd">
            <a:solidFill>
              <a:schemeClr val="accent6"/>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1A695B6E-E20A-637A-1B72-55445220CD5A}"/>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5300"/>
                    </a14:imgEffect>
                  </a14:imgLayer>
                </a14:imgProps>
              </a:ext>
            </a:extLst>
          </a:blip>
          <a:stretch>
            <a:fillRect/>
          </a:stretch>
        </p:blipFill>
        <p:spPr>
          <a:xfrm>
            <a:off x="11177401" y="159180"/>
            <a:ext cx="861873" cy="466259"/>
          </a:xfrm>
          <a:prstGeom prst="rect">
            <a:avLst/>
          </a:prstGeom>
        </p:spPr>
      </p:pic>
    </p:spTree>
    <p:extLst>
      <p:ext uri="{BB962C8B-B14F-4D97-AF65-F5344CB8AC3E}">
        <p14:creationId xmlns:p14="http://schemas.microsoft.com/office/powerpoint/2010/main" val="3160767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77170-508E-AC29-5058-96997DC59CB1}"/>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EECB4694-455A-6912-005D-0F9FBC997231}"/>
              </a:ext>
            </a:extLst>
          </p:cNvPr>
          <p:cNvPicPr>
            <a:picLocks noChangeAspect="1"/>
          </p:cNvPicPr>
          <p:nvPr/>
        </p:nvPicPr>
        <p:blipFill>
          <a:blip r:embed="rId3"/>
          <a:srcRect l="10645" r="30159"/>
          <a:stretch>
            <a:fillRect/>
          </a:stretch>
        </p:blipFill>
        <p:spPr>
          <a:xfrm>
            <a:off x="0" y="0"/>
            <a:ext cx="4072270" cy="6879266"/>
          </a:xfrm>
          <a:prstGeom prst="rect">
            <a:avLst/>
          </a:prstGeom>
        </p:spPr>
      </p:pic>
      <p:sp>
        <p:nvSpPr>
          <p:cNvPr id="3" name="TextBox 2">
            <a:extLst>
              <a:ext uri="{FF2B5EF4-FFF2-40B4-BE49-F238E27FC236}">
                <a16:creationId xmlns:a16="http://schemas.microsoft.com/office/drawing/2014/main" id="{7236E3E2-B6ED-E63C-06E6-E6DF8E776102}"/>
              </a:ext>
            </a:extLst>
          </p:cNvPr>
          <p:cNvSpPr txBox="1"/>
          <p:nvPr/>
        </p:nvSpPr>
        <p:spPr>
          <a:xfrm>
            <a:off x="5534952" y="154557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aphicFrame>
        <p:nvGraphicFramePr>
          <p:cNvPr id="14" name="Table 13">
            <a:extLst>
              <a:ext uri="{FF2B5EF4-FFF2-40B4-BE49-F238E27FC236}">
                <a16:creationId xmlns:a16="http://schemas.microsoft.com/office/drawing/2014/main" id="{8F44831F-37FD-562F-2331-DE6E07EDCD0B}"/>
              </a:ext>
            </a:extLst>
          </p:cNvPr>
          <p:cNvGraphicFramePr>
            <a:graphicFrameLocks noGrp="1"/>
          </p:cNvGraphicFramePr>
          <p:nvPr>
            <p:extLst>
              <p:ext uri="{D42A27DB-BD31-4B8C-83A1-F6EECF244321}">
                <p14:modId xmlns:p14="http://schemas.microsoft.com/office/powerpoint/2010/main" val="3413390211"/>
              </p:ext>
            </p:extLst>
          </p:nvPr>
        </p:nvGraphicFramePr>
        <p:xfrm>
          <a:off x="4399988" y="2459979"/>
          <a:ext cx="7310868" cy="3159760"/>
        </p:xfrm>
        <a:graphic>
          <a:graphicData uri="http://schemas.openxmlformats.org/drawingml/2006/table">
            <a:tbl>
              <a:tblPr firstRow="1" bandRow="1">
                <a:tableStyleId>{5C22544A-7EE6-4342-B048-85BDC9FD1C3A}</a:tableStyleId>
              </a:tblPr>
              <a:tblGrid>
                <a:gridCol w="1916917">
                  <a:extLst>
                    <a:ext uri="{9D8B030D-6E8A-4147-A177-3AD203B41FA5}">
                      <a16:colId xmlns:a16="http://schemas.microsoft.com/office/drawing/2014/main" val="2381124864"/>
                    </a:ext>
                  </a:extLst>
                </a:gridCol>
                <a:gridCol w="5393951">
                  <a:extLst>
                    <a:ext uri="{9D8B030D-6E8A-4147-A177-3AD203B41FA5}">
                      <a16:colId xmlns:a16="http://schemas.microsoft.com/office/drawing/2014/main" val="2163398654"/>
                    </a:ext>
                  </a:extLst>
                </a:gridCol>
              </a:tblGrid>
              <a:tr h="225460">
                <a:tc gridSpan="2">
                  <a:txBody>
                    <a:bodyPr/>
                    <a:lstStyle/>
                    <a:p>
                      <a:r>
                        <a:rPr lang="en-US" sz="1600" dirty="0">
                          <a:latin typeface="Gill Sans MT" panose="020B0502020104020203" pitchFamily="34" charset="0"/>
                        </a:rPr>
                        <a:t>Printed Circuit Board assembly</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hMerge="1">
                  <a:txBody>
                    <a:bodyPr/>
                    <a:lstStyle/>
                    <a:p>
                      <a:endParaRPr lang="en-US" sz="1200" dirty="0"/>
                    </a:p>
                  </a:txBody>
                  <a:tcPr>
                    <a:solidFill>
                      <a:schemeClr val="bg1">
                        <a:lumMod val="50000"/>
                      </a:schemeClr>
                    </a:solidFill>
                  </a:tcPr>
                </a:tc>
                <a:extLst>
                  <a:ext uri="{0D108BD9-81ED-4DB2-BD59-A6C34878D82A}">
                    <a16:rowId xmlns:a16="http://schemas.microsoft.com/office/drawing/2014/main" val="1626966085"/>
                  </a:ext>
                </a:extLst>
              </a:tr>
              <a:tr h="757683">
                <a:tc>
                  <a:txBody>
                    <a:bodyPr/>
                    <a:lstStyle/>
                    <a:p>
                      <a:r>
                        <a:rPr lang="en-US" sz="1400" dirty="0">
                          <a:latin typeface="Gill Sans MT" panose="020B0502020104020203" pitchFamily="34" charset="0"/>
                        </a:rPr>
                        <a:t>Overall</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Single and double-sided SMT and through hole </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No clean and clean/wash</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ROHS and leaded solder</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Rework, debug and repair including BGA re-ball, part removal and replacement</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Turnkey or consigned inputs: </a:t>
                      </a:r>
                      <a:r>
                        <a:rPr lang="en-US" sz="1200" b="0" kern="100" dirty="0">
                          <a:solidFill>
                            <a:schemeClr val="tx1"/>
                          </a:solidFill>
                          <a:effectLst/>
                          <a:latin typeface="Gill Sans MT" panose="020B0502020104020203" pitchFamily="34" charset="0"/>
                          <a:ea typeface="+mn-ea"/>
                          <a:cs typeface="Times New Roman" panose="02020603050405020304" pitchFamily="18" charset="0"/>
                        </a:rPr>
                        <a:t>c</a:t>
                      </a:r>
                      <a:r>
                        <a:rPr lang="en-US" sz="1200" kern="100" dirty="0">
                          <a:solidFill>
                            <a:schemeClr val="tx1"/>
                          </a:solidFill>
                          <a:effectLst/>
                          <a:latin typeface="Gill Sans MT" panose="020B0502020104020203" pitchFamily="34" charset="0"/>
                          <a:ea typeface="Aptos" panose="020B0004020202020204" pitchFamily="34" charset="0"/>
                          <a:cs typeface="Times New Roman" panose="02020603050405020304" pitchFamily="18" charset="0"/>
                        </a:rPr>
                        <a:t>ut tape, reels and loose part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457386"/>
                  </a:ext>
                </a:extLst>
              </a:tr>
              <a:tr h="333408">
                <a:tc>
                  <a:txBody>
                    <a:bodyPr/>
                    <a:lstStyle/>
                    <a:p>
                      <a:r>
                        <a:rPr lang="en-US" sz="1400" dirty="0">
                          <a:latin typeface="Gill Sans MT" panose="020B0502020104020203" pitchFamily="34" charset="0"/>
                        </a:rPr>
                        <a:t>Board size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Largest – 20” x 20” (using pick and place) or 40” x 40” (adjustments)</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Smallest – 0.2” x 0.4” (panelized) and 2” x 2” (non-panelized)</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100039"/>
                  </a:ext>
                </a:extLst>
              </a:tr>
              <a:tr h="411210">
                <a:tc>
                  <a:txBody>
                    <a:bodyPr/>
                    <a:lstStyle/>
                    <a:p>
                      <a:r>
                        <a:rPr lang="en-US" sz="1400" dirty="0">
                          <a:latin typeface="Gill Sans MT" panose="020B0502020104020203" pitchFamily="34" charset="0"/>
                        </a:rPr>
                        <a:t>Soldering option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Jet paste, stencil, water soluble and niche pastes</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Conventional reflow, wave solder and programmable selective solde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715890"/>
                  </a:ext>
                </a:extLst>
              </a:tr>
              <a:tr h="474833">
                <a:tc>
                  <a:txBody>
                    <a:bodyPr/>
                    <a:lstStyle/>
                    <a:p>
                      <a:r>
                        <a:rPr lang="en-US" sz="1400" dirty="0">
                          <a:latin typeface="Gill Sans MT" panose="020B0502020104020203" pitchFamily="34" charset="0"/>
                        </a:rPr>
                        <a:t>Depanelization method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V-score</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Mouse bites</a:t>
                      </a:r>
                    </a:p>
                    <a:p>
                      <a:pPr marL="285750" marR="0" lvl="0" indent="-285750" algn="l" defTabSz="914400" rtl="0" eaLnBrk="1" latinLnBrk="0" hangingPunct="1">
                        <a:lnSpc>
                          <a:spcPct val="115000"/>
                        </a:lnSpc>
                        <a:spcAft>
                          <a:spcPts val="800"/>
                        </a:spcAft>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Mechanical routing</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443483"/>
                  </a:ext>
                </a:extLst>
              </a:tr>
            </a:tbl>
          </a:graphicData>
        </a:graphic>
      </p:graphicFrame>
      <p:graphicFrame>
        <p:nvGraphicFramePr>
          <p:cNvPr id="15" name="Table 14">
            <a:extLst>
              <a:ext uri="{FF2B5EF4-FFF2-40B4-BE49-F238E27FC236}">
                <a16:creationId xmlns:a16="http://schemas.microsoft.com/office/drawing/2014/main" id="{7C14166A-EFB3-70C3-0241-21045A014CCE}"/>
              </a:ext>
            </a:extLst>
          </p:cNvPr>
          <p:cNvGraphicFramePr>
            <a:graphicFrameLocks noGrp="1"/>
          </p:cNvGraphicFramePr>
          <p:nvPr>
            <p:extLst>
              <p:ext uri="{D42A27DB-BD31-4B8C-83A1-F6EECF244321}">
                <p14:modId xmlns:p14="http://schemas.microsoft.com/office/powerpoint/2010/main" val="4102759278"/>
              </p:ext>
            </p:extLst>
          </p:nvPr>
        </p:nvGraphicFramePr>
        <p:xfrm>
          <a:off x="4399988" y="942575"/>
          <a:ext cx="7310868" cy="1251712"/>
        </p:xfrm>
        <a:graphic>
          <a:graphicData uri="http://schemas.openxmlformats.org/drawingml/2006/table">
            <a:tbl>
              <a:tblPr firstRow="1" bandRow="1">
                <a:tableStyleId>{5C22544A-7EE6-4342-B048-85BDC9FD1C3A}</a:tableStyleId>
              </a:tblPr>
              <a:tblGrid>
                <a:gridCol w="1916917">
                  <a:extLst>
                    <a:ext uri="{9D8B030D-6E8A-4147-A177-3AD203B41FA5}">
                      <a16:colId xmlns:a16="http://schemas.microsoft.com/office/drawing/2014/main" val="2381124864"/>
                    </a:ext>
                  </a:extLst>
                </a:gridCol>
                <a:gridCol w="5393951">
                  <a:extLst>
                    <a:ext uri="{9D8B030D-6E8A-4147-A177-3AD203B41FA5}">
                      <a16:colId xmlns:a16="http://schemas.microsoft.com/office/drawing/2014/main" val="2163398654"/>
                    </a:ext>
                  </a:extLst>
                </a:gridCol>
              </a:tblGrid>
              <a:tr h="0">
                <a:tc gridSpan="2">
                  <a:txBody>
                    <a:bodyPr/>
                    <a:lstStyle/>
                    <a:p>
                      <a:r>
                        <a:rPr lang="en-US" sz="1600" dirty="0">
                          <a:latin typeface="Gill Sans MT" panose="020B0502020104020203" pitchFamily="34" charset="0"/>
                        </a:rPr>
                        <a:t>Electronics hardware design</a:t>
                      </a:r>
                    </a:p>
                  </a:txBody>
                  <a:tcP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hMerge="1">
                  <a:txBody>
                    <a:bodyPr/>
                    <a:lstStyle/>
                    <a:p>
                      <a:endParaRPr lang="en-US" sz="1200" dirty="0"/>
                    </a:p>
                  </a:txBody>
                  <a:tcPr>
                    <a:solidFill>
                      <a:schemeClr val="bg1">
                        <a:lumMod val="50000"/>
                      </a:schemeClr>
                    </a:solidFill>
                  </a:tcPr>
                </a:tc>
                <a:extLst>
                  <a:ext uri="{0D108BD9-81ED-4DB2-BD59-A6C34878D82A}">
                    <a16:rowId xmlns:a16="http://schemas.microsoft.com/office/drawing/2014/main" val="1626966085"/>
                  </a:ext>
                </a:extLst>
              </a:tr>
              <a:tr h="365740">
                <a:tc>
                  <a:txBody>
                    <a:bodyPr/>
                    <a:lstStyle/>
                    <a:p>
                      <a:r>
                        <a:rPr lang="en-US" sz="1400" dirty="0">
                          <a:latin typeface="Gill Sans MT" panose="020B0502020104020203" pitchFamily="34" charset="0"/>
                        </a:rPr>
                        <a:t>Overall</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Analog, digital RF, embedded, FPGA and ASIC hardware design</a:t>
                      </a:r>
                      <a:endParaRPr lang="en-US" sz="1200" b="0" kern="1200" baseline="30000" dirty="0">
                        <a:solidFill>
                          <a:schemeClr val="tx1"/>
                        </a:solidFill>
                        <a:latin typeface="Gill Sans MT" panose="020B0502020104020203" pitchFamily="34" charset="0"/>
                        <a:ea typeface="+mn-ea"/>
                        <a:cs typeface="+mn-cs"/>
                      </a:endParaRP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Schematic capture</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Firmware development and software integration</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PCB layout including design-for-manufacturability</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457386"/>
                  </a:ext>
                </a:extLst>
              </a:tr>
            </a:tbl>
          </a:graphicData>
        </a:graphic>
      </p:graphicFrame>
      <p:sp>
        <p:nvSpPr>
          <p:cNvPr id="18" name="Rectangle 17">
            <a:extLst>
              <a:ext uri="{FF2B5EF4-FFF2-40B4-BE49-F238E27FC236}">
                <a16:creationId xmlns:a16="http://schemas.microsoft.com/office/drawing/2014/main" id="{85EDC7CE-1C33-41F1-63C2-93ABA8F2CC90}"/>
              </a:ext>
            </a:extLst>
          </p:cNvPr>
          <p:cNvSpPr/>
          <p:nvPr/>
        </p:nvSpPr>
        <p:spPr>
          <a:xfrm>
            <a:off x="8949" y="0"/>
            <a:ext cx="4072270" cy="6858000"/>
          </a:xfrm>
          <a:prstGeom prst="rect">
            <a:avLst/>
          </a:prstGeom>
          <a:solidFill>
            <a:srgbClr val="63666A">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lumMod val="50000"/>
                </a:schemeClr>
              </a:solidFill>
            </a:endParaRPr>
          </a:p>
        </p:txBody>
      </p:sp>
      <p:sp>
        <p:nvSpPr>
          <p:cNvPr id="2" name="Title 1">
            <a:extLst>
              <a:ext uri="{FF2B5EF4-FFF2-40B4-BE49-F238E27FC236}">
                <a16:creationId xmlns:a16="http://schemas.microsoft.com/office/drawing/2014/main" id="{1757E4A1-C056-6359-979C-A85D29309C92}"/>
              </a:ext>
            </a:extLst>
          </p:cNvPr>
          <p:cNvSpPr>
            <a:spLocks noGrp="1"/>
          </p:cNvSpPr>
          <p:nvPr>
            <p:ph type="title"/>
          </p:nvPr>
        </p:nvSpPr>
        <p:spPr>
          <a:xfrm>
            <a:off x="481144" y="3055051"/>
            <a:ext cx="3127881" cy="747897"/>
          </a:xfrm>
        </p:spPr>
        <p:txBody>
          <a:bodyPr/>
          <a:lstStyle/>
          <a:p>
            <a:r>
              <a:rPr lang="en-US" dirty="0">
                <a:latin typeface="Gill Sans MT" panose="020B0502020104020203" pitchFamily="34" charset="0"/>
              </a:rPr>
              <a:t>Capabilities and services (1 of 2)</a:t>
            </a:r>
          </a:p>
        </p:txBody>
      </p:sp>
      <p:pic>
        <p:nvPicPr>
          <p:cNvPr id="19" name="Picture 18">
            <a:extLst>
              <a:ext uri="{FF2B5EF4-FFF2-40B4-BE49-F238E27FC236}">
                <a16:creationId xmlns:a16="http://schemas.microsoft.com/office/drawing/2014/main" id="{A8B36791-D8F5-F8A2-4167-7F79EFA7663C}"/>
              </a:ext>
            </a:extLst>
          </p:cNvPr>
          <p:cNvPicPr>
            <a:picLocks noChangeAspect="1"/>
          </p:cNvPicPr>
          <p:nvPr/>
        </p:nvPicPr>
        <p:blipFill>
          <a:blip r:embed="rId4"/>
          <a:stretch>
            <a:fillRect/>
          </a:stretch>
        </p:blipFill>
        <p:spPr>
          <a:xfrm>
            <a:off x="11177401" y="159180"/>
            <a:ext cx="861873" cy="466259"/>
          </a:xfrm>
          <a:prstGeom prst="rect">
            <a:avLst/>
          </a:prstGeom>
        </p:spPr>
      </p:pic>
    </p:spTree>
    <p:extLst>
      <p:ext uri="{BB962C8B-B14F-4D97-AF65-F5344CB8AC3E}">
        <p14:creationId xmlns:p14="http://schemas.microsoft.com/office/powerpoint/2010/main" val="2726271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0A6E3-F27B-97D2-8F19-4DD8E670D9E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631D5CA-E90B-152F-CB60-5012414332BE}"/>
              </a:ext>
            </a:extLst>
          </p:cNvPr>
          <p:cNvSpPr txBox="1"/>
          <p:nvPr/>
        </p:nvSpPr>
        <p:spPr>
          <a:xfrm>
            <a:off x="5534952" y="154557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aphicFrame>
        <p:nvGraphicFramePr>
          <p:cNvPr id="14" name="Table 13">
            <a:extLst>
              <a:ext uri="{FF2B5EF4-FFF2-40B4-BE49-F238E27FC236}">
                <a16:creationId xmlns:a16="http://schemas.microsoft.com/office/drawing/2014/main" id="{7ABDFAF1-C11C-025A-2362-28DD671AFFD2}"/>
              </a:ext>
            </a:extLst>
          </p:cNvPr>
          <p:cNvGraphicFramePr>
            <a:graphicFrameLocks noGrp="1"/>
          </p:cNvGraphicFramePr>
          <p:nvPr>
            <p:extLst>
              <p:ext uri="{D42A27DB-BD31-4B8C-83A1-F6EECF244321}">
                <p14:modId xmlns:p14="http://schemas.microsoft.com/office/powerpoint/2010/main" val="271024521"/>
              </p:ext>
            </p:extLst>
          </p:nvPr>
        </p:nvGraphicFramePr>
        <p:xfrm>
          <a:off x="4399988" y="2701810"/>
          <a:ext cx="7310868" cy="3392424"/>
        </p:xfrm>
        <a:graphic>
          <a:graphicData uri="http://schemas.openxmlformats.org/drawingml/2006/table">
            <a:tbl>
              <a:tblPr firstRow="1" bandRow="1">
                <a:tableStyleId>{5C22544A-7EE6-4342-B048-85BDC9FD1C3A}</a:tableStyleId>
              </a:tblPr>
              <a:tblGrid>
                <a:gridCol w="1916917">
                  <a:extLst>
                    <a:ext uri="{9D8B030D-6E8A-4147-A177-3AD203B41FA5}">
                      <a16:colId xmlns:a16="http://schemas.microsoft.com/office/drawing/2014/main" val="2381124864"/>
                    </a:ext>
                  </a:extLst>
                </a:gridCol>
                <a:gridCol w="5393951">
                  <a:extLst>
                    <a:ext uri="{9D8B030D-6E8A-4147-A177-3AD203B41FA5}">
                      <a16:colId xmlns:a16="http://schemas.microsoft.com/office/drawing/2014/main" val="2163398654"/>
                    </a:ext>
                  </a:extLst>
                </a:gridCol>
              </a:tblGrid>
              <a:tr h="258184">
                <a:tc gridSpan="2">
                  <a:txBody>
                    <a:bodyPr/>
                    <a:lstStyle/>
                    <a:p>
                      <a:r>
                        <a:rPr lang="en-US" sz="1600" dirty="0">
                          <a:latin typeface="Gill Sans MT" panose="020B0502020104020203" pitchFamily="34" charset="0"/>
                        </a:rPr>
                        <a:t>Testing and add-on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hMerge="1">
                  <a:txBody>
                    <a:bodyPr/>
                    <a:lstStyle/>
                    <a:p>
                      <a:endParaRPr lang="en-US" sz="1200" dirty="0"/>
                    </a:p>
                  </a:txBody>
                  <a:tcPr>
                    <a:solidFill>
                      <a:schemeClr val="bg1">
                        <a:lumMod val="50000"/>
                      </a:schemeClr>
                    </a:solidFill>
                  </a:tcPr>
                </a:tc>
                <a:extLst>
                  <a:ext uri="{0D108BD9-81ED-4DB2-BD59-A6C34878D82A}">
                    <a16:rowId xmlns:a16="http://schemas.microsoft.com/office/drawing/2014/main" val="1626966085"/>
                  </a:ext>
                </a:extLst>
              </a:tr>
              <a:tr h="705703">
                <a:tc>
                  <a:txBody>
                    <a:bodyPr/>
                    <a:lstStyle/>
                    <a:p>
                      <a:r>
                        <a:rPr lang="en-US" sz="1400" dirty="0">
                          <a:latin typeface="Gill Sans MT" panose="020B0502020104020203" pitchFamily="34" charset="0"/>
                        </a:rPr>
                        <a:t>Inspection and testing</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Visual inspection and functional testing</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In-line SPI and AOI including component height and joint measurement</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5Dx X-ray capability and automatic optical inspection</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Flying probe (technology upgraded in 2024 and 2025)</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457386"/>
                  </a:ext>
                </a:extLst>
              </a:tr>
              <a:tr h="381799">
                <a:tc>
                  <a:txBody>
                    <a:bodyPr/>
                    <a:lstStyle/>
                    <a:p>
                      <a:r>
                        <a:rPr lang="en-US" sz="1400" dirty="0">
                          <a:latin typeface="Gill Sans MT" panose="020B0502020104020203" pitchFamily="34" charset="0"/>
                        </a:rPr>
                        <a:t>Cabling and harnessing</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Internal and external cable harnesses</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RF, shielded or unshielded, twisted pair, coax, flex etc.</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3981862"/>
                  </a:ext>
                </a:extLst>
              </a:tr>
              <a:tr h="867655">
                <a:tc>
                  <a:txBody>
                    <a:bodyPr/>
                    <a:lstStyle/>
                    <a:p>
                      <a:r>
                        <a:rPr lang="en-US" sz="1400" dirty="0">
                          <a:latin typeface="Gill Sans MT" panose="020B0502020104020203" pitchFamily="34" charset="0"/>
                        </a:rPr>
                        <a:t>Box build and system integra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Conformal coatings and press fits</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Ionic contamination tests</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Complete electro-mechanical assembly services</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Complex integration with software</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Final test and acceptanc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012805"/>
                  </a:ext>
                </a:extLst>
              </a:tr>
              <a:tr h="3990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Gill Sans MT" panose="020B0502020104020203" pitchFamily="34" charset="0"/>
                        </a:rPr>
                        <a:t>High-reliability services</a:t>
                      </a:r>
                    </a:p>
                    <a:p>
                      <a:endParaRPr lang="en-US" sz="1400" dirty="0">
                        <a:latin typeface="Gill Sans MT" panose="020B0502020104020203"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Temperature cycling of boards</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High pot testing</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357682"/>
                  </a:ext>
                </a:extLst>
              </a:tr>
            </a:tbl>
          </a:graphicData>
        </a:graphic>
      </p:graphicFrame>
      <p:graphicFrame>
        <p:nvGraphicFramePr>
          <p:cNvPr id="15" name="Table 14">
            <a:extLst>
              <a:ext uri="{FF2B5EF4-FFF2-40B4-BE49-F238E27FC236}">
                <a16:creationId xmlns:a16="http://schemas.microsoft.com/office/drawing/2014/main" id="{99D93484-A7F4-4FD6-1D48-9C36DAD37145}"/>
              </a:ext>
            </a:extLst>
          </p:cNvPr>
          <p:cNvGraphicFramePr>
            <a:graphicFrameLocks noGrp="1"/>
          </p:cNvGraphicFramePr>
          <p:nvPr>
            <p:extLst>
              <p:ext uri="{D42A27DB-BD31-4B8C-83A1-F6EECF244321}">
                <p14:modId xmlns:p14="http://schemas.microsoft.com/office/powerpoint/2010/main" val="4115138603"/>
              </p:ext>
            </p:extLst>
          </p:nvPr>
        </p:nvGraphicFramePr>
        <p:xfrm>
          <a:off x="4399988" y="953654"/>
          <a:ext cx="7310868" cy="1462024"/>
        </p:xfrm>
        <a:graphic>
          <a:graphicData uri="http://schemas.openxmlformats.org/drawingml/2006/table">
            <a:tbl>
              <a:tblPr firstRow="1" bandRow="1">
                <a:tableStyleId>{5C22544A-7EE6-4342-B048-85BDC9FD1C3A}</a:tableStyleId>
              </a:tblPr>
              <a:tblGrid>
                <a:gridCol w="1916917">
                  <a:extLst>
                    <a:ext uri="{9D8B030D-6E8A-4147-A177-3AD203B41FA5}">
                      <a16:colId xmlns:a16="http://schemas.microsoft.com/office/drawing/2014/main" val="2381124864"/>
                    </a:ext>
                  </a:extLst>
                </a:gridCol>
                <a:gridCol w="5393951">
                  <a:extLst>
                    <a:ext uri="{9D8B030D-6E8A-4147-A177-3AD203B41FA5}">
                      <a16:colId xmlns:a16="http://schemas.microsoft.com/office/drawing/2014/main" val="2163398654"/>
                    </a:ext>
                  </a:extLst>
                </a:gridCol>
              </a:tblGrid>
              <a:tr h="0">
                <a:tc gridSpan="2">
                  <a:txBody>
                    <a:bodyPr/>
                    <a:lstStyle/>
                    <a:p>
                      <a:r>
                        <a:rPr lang="en-US" sz="1600" dirty="0">
                          <a:latin typeface="Gill Sans MT" panose="020B0502020104020203" pitchFamily="34" charset="0"/>
                        </a:rPr>
                        <a:t>Component procurement</a:t>
                      </a:r>
                    </a:p>
                  </a:txBody>
                  <a:tcP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hMerge="1">
                  <a:txBody>
                    <a:bodyPr/>
                    <a:lstStyle/>
                    <a:p>
                      <a:endParaRPr lang="en-US" sz="1200" dirty="0"/>
                    </a:p>
                  </a:txBody>
                  <a:tcPr>
                    <a:solidFill>
                      <a:schemeClr val="bg1">
                        <a:lumMod val="50000"/>
                      </a:schemeClr>
                    </a:solidFill>
                  </a:tcPr>
                </a:tc>
                <a:extLst>
                  <a:ext uri="{0D108BD9-81ED-4DB2-BD59-A6C34878D82A}">
                    <a16:rowId xmlns:a16="http://schemas.microsoft.com/office/drawing/2014/main" val="1626966085"/>
                  </a:ext>
                </a:extLst>
              </a:tr>
              <a:tr h="365740">
                <a:tc>
                  <a:txBody>
                    <a:bodyPr/>
                    <a:lstStyle/>
                    <a:p>
                      <a:r>
                        <a:rPr lang="en-US" sz="1400" dirty="0">
                          <a:latin typeface="Gill Sans MT" panose="020B0502020104020203" pitchFamily="34" charset="0"/>
                        </a:rPr>
                        <a:t>Overall</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Dedicated procurement team continuously balancing cost and lead time</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Gill Sans MT" panose="020B0502020104020203" pitchFamily="34" charset="0"/>
                          <a:ea typeface="+mn-ea"/>
                          <a:cs typeface="+mn-cs"/>
                        </a:rPr>
                        <a:t>Sourcing all inputs including </a:t>
                      </a:r>
                      <a:r>
                        <a:rPr lang="en-US" sz="1200" kern="100" dirty="0">
                          <a:solidFill>
                            <a:schemeClr val="tx1"/>
                          </a:solidFill>
                          <a:effectLst/>
                          <a:latin typeface="Gill Sans MT" panose="020B0502020104020203" pitchFamily="34" charset="0"/>
                          <a:ea typeface="Aptos" panose="020B0004020202020204" pitchFamily="34" charset="0"/>
                          <a:cs typeface="Times New Roman" panose="02020603050405020304" pitchFamily="18" charset="0"/>
                        </a:rPr>
                        <a:t>SOIC, QFP and TQFN, leadless chip carriers/CSP,  through hole/LGA, passives, BGAs and VFBGA and microelectronics</a:t>
                      </a:r>
                      <a:endParaRPr lang="en-US" sz="1200" b="0" kern="1200" dirty="0">
                        <a:solidFill>
                          <a:schemeClr val="tx1"/>
                        </a:solidFill>
                        <a:latin typeface="Gill Sans MT" panose="020B0502020104020203" pitchFamily="34" charset="0"/>
                        <a:ea typeface="+mn-ea"/>
                        <a:cs typeface="+mn-cs"/>
                      </a:endParaRP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Access to hard-to-find and obsolete parts </a:t>
                      </a:r>
                    </a:p>
                    <a:p>
                      <a:pPr marL="285750" marR="0" lvl="0" indent="-285750" algn="l" defTabSz="914400" rtl="0" eaLnBrk="1" latinLnBrk="0" hangingPunct="1">
                        <a:lnSpc>
                          <a:spcPct val="115000"/>
                        </a:lnSpc>
                        <a:buFont typeface="Arial" panose="020B0604020202020204" pitchFamily="34" charset="0"/>
                        <a:buChar char="•"/>
                      </a:pPr>
                      <a:r>
                        <a:rPr lang="en-US" sz="1200" b="0" kern="1200" dirty="0">
                          <a:solidFill>
                            <a:schemeClr val="tx1"/>
                          </a:solidFill>
                          <a:latin typeface="Gill Sans MT" panose="020B0502020104020203" pitchFamily="34" charset="0"/>
                          <a:ea typeface="+mn-ea"/>
                          <a:cs typeface="+mn-cs"/>
                        </a:rPr>
                        <a:t>Source housing and other fabricated parts</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457386"/>
                  </a:ext>
                </a:extLst>
              </a:tr>
            </a:tbl>
          </a:graphicData>
        </a:graphic>
      </p:graphicFrame>
      <p:pic>
        <p:nvPicPr>
          <p:cNvPr id="12" name="Picture 11">
            <a:extLst>
              <a:ext uri="{FF2B5EF4-FFF2-40B4-BE49-F238E27FC236}">
                <a16:creationId xmlns:a16="http://schemas.microsoft.com/office/drawing/2014/main" id="{3DCB82EF-E8D1-5027-BCF4-5B3AE8D5B15B}"/>
              </a:ext>
            </a:extLst>
          </p:cNvPr>
          <p:cNvPicPr>
            <a:picLocks noChangeAspect="1"/>
          </p:cNvPicPr>
          <p:nvPr/>
        </p:nvPicPr>
        <p:blipFill>
          <a:blip r:embed="rId3"/>
          <a:stretch>
            <a:fillRect/>
          </a:stretch>
        </p:blipFill>
        <p:spPr>
          <a:xfrm>
            <a:off x="11177401" y="159180"/>
            <a:ext cx="861873" cy="466259"/>
          </a:xfrm>
          <a:prstGeom prst="rect">
            <a:avLst/>
          </a:prstGeom>
        </p:spPr>
      </p:pic>
      <p:pic>
        <p:nvPicPr>
          <p:cNvPr id="13" name="Picture 12">
            <a:extLst>
              <a:ext uri="{FF2B5EF4-FFF2-40B4-BE49-F238E27FC236}">
                <a16:creationId xmlns:a16="http://schemas.microsoft.com/office/drawing/2014/main" id="{E78FBEB6-260B-8120-7888-E2BB5C5EFB89}"/>
              </a:ext>
            </a:extLst>
          </p:cNvPr>
          <p:cNvPicPr>
            <a:picLocks noChangeAspect="1"/>
          </p:cNvPicPr>
          <p:nvPr/>
        </p:nvPicPr>
        <p:blipFill>
          <a:blip r:embed="rId4"/>
          <a:srcRect l="10645" r="30159"/>
          <a:stretch>
            <a:fillRect/>
          </a:stretch>
        </p:blipFill>
        <p:spPr>
          <a:xfrm>
            <a:off x="0" y="0"/>
            <a:ext cx="4072270" cy="6879266"/>
          </a:xfrm>
          <a:prstGeom prst="rect">
            <a:avLst/>
          </a:prstGeom>
        </p:spPr>
      </p:pic>
      <p:sp>
        <p:nvSpPr>
          <p:cNvPr id="16" name="Rectangle 15">
            <a:extLst>
              <a:ext uri="{FF2B5EF4-FFF2-40B4-BE49-F238E27FC236}">
                <a16:creationId xmlns:a16="http://schemas.microsoft.com/office/drawing/2014/main" id="{56E7E83D-8912-BAD8-FD3B-5728846A17E9}"/>
              </a:ext>
            </a:extLst>
          </p:cNvPr>
          <p:cNvSpPr/>
          <p:nvPr/>
        </p:nvSpPr>
        <p:spPr>
          <a:xfrm>
            <a:off x="8949" y="0"/>
            <a:ext cx="4072270" cy="6858000"/>
          </a:xfrm>
          <a:prstGeom prst="rect">
            <a:avLst/>
          </a:prstGeom>
          <a:solidFill>
            <a:srgbClr val="63666A">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lumMod val="50000"/>
                </a:schemeClr>
              </a:solidFill>
            </a:endParaRPr>
          </a:p>
        </p:txBody>
      </p:sp>
      <p:sp>
        <p:nvSpPr>
          <p:cNvPr id="17" name="Title 1">
            <a:extLst>
              <a:ext uri="{FF2B5EF4-FFF2-40B4-BE49-F238E27FC236}">
                <a16:creationId xmlns:a16="http://schemas.microsoft.com/office/drawing/2014/main" id="{84DDFD75-BFFB-C2C6-7EE8-CA4DE741B0C7}"/>
              </a:ext>
            </a:extLst>
          </p:cNvPr>
          <p:cNvSpPr>
            <a:spLocks noGrp="1"/>
          </p:cNvSpPr>
          <p:nvPr>
            <p:ph type="title"/>
          </p:nvPr>
        </p:nvSpPr>
        <p:spPr>
          <a:xfrm>
            <a:off x="481144" y="3055051"/>
            <a:ext cx="3127881" cy="747897"/>
          </a:xfrm>
        </p:spPr>
        <p:txBody>
          <a:bodyPr/>
          <a:lstStyle/>
          <a:p>
            <a:r>
              <a:rPr lang="en-US" dirty="0">
                <a:latin typeface="Gill Sans MT" panose="020B0502020104020203" pitchFamily="34" charset="0"/>
              </a:rPr>
              <a:t>Capabilities and services (2 of 2)</a:t>
            </a:r>
          </a:p>
        </p:txBody>
      </p:sp>
    </p:spTree>
    <p:extLst>
      <p:ext uri="{BB962C8B-B14F-4D97-AF65-F5344CB8AC3E}">
        <p14:creationId xmlns:p14="http://schemas.microsoft.com/office/powerpoint/2010/main" val="307133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0F3A03-98E5-E20B-2908-EA4C68857B93}"/>
            </a:ext>
          </a:extLst>
        </p:cNvPr>
        <p:cNvGrpSpPr/>
        <p:nvPr/>
      </p:nvGrpSpPr>
      <p:grpSpPr>
        <a:xfrm>
          <a:off x="0" y="0"/>
          <a:ext cx="0" cy="0"/>
          <a:chOff x="0" y="0"/>
          <a:chExt cx="0" cy="0"/>
        </a:xfrm>
      </p:grpSpPr>
      <p:pic>
        <p:nvPicPr>
          <p:cNvPr id="1030" name="Picture 6" descr="What is AOI (Automated Optical Inspection): A Comprehensive Guide">
            <a:extLst>
              <a:ext uri="{FF2B5EF4-FFF2-40B4-BE49-F238E27FC236}">
                <a16:creationId xmlns:a16="http://schemas.microsoft.com/office/drawing/2014/main" id="{69D5DC46-07DF-B406-1202-88D94255BBB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245" r="38814"/>
          <a:stretch>
            <a:fillRect/>
          </a:stretch>
        </p:blipFill>
        <p:spPr bwMode="auto">
          <a:xfrm>
            <a:off x="-16867" y="-33059"/>
            <a:ext cx="4331276" cy="689776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DE87EDD5-C14E-937D-B426-3C7B2893C768}"/>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DE87EDD5-C14E-937D-B426-3C7B2893C7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56CFC1EB-76E4-19C4-B2E9-5A82F140C3CE}"/>
              </a:ext>
            </a:extLst>
          </p:cNvPr>
          <p:cNvSpPr/>
          <p:nvPr/>
        </p:nvSpPr>
        <p:spPr>
          <a:xfrm>
            <a:off x="5207321" y="-2077"/>
            <a:ext cx="6740186" cy="6858000"/>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8" name="Rectangle 7">
            <a:extLst>
              <a:ext uri="{FF2B5EF4-FFF2-40B4-BE49-F238E27FC236}">
                <a16:creationId xmlns:a16="http://schemas.microsoft.com/office/drawing/2014/main" id="{EB2A78C3-4CD8-8664-2628-72B522FBB747}"/>
              </a:ext>
            </a:extLst>
          </p:cNvPr>
          <p:cNvSpPr/>
          <p:nvPr/>
        </p:nvSpPr>
        <p:spPr>
          <a:xfrm>
            <a:off x="-16867" y="-33059"/>
            <a:ext cx="4537595" cy="6858000"/>
          </a:xfrm>
          <a:prstGeom prst="rect">
            <a:avLst/>
          </a:prstGeom>
          <a:solidFill>
            <a:srgbClr val="63666A">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lumMod val="50000"/>
                </a:schemeClr>
              </a:solidFill>
            </a:endParaRPr>
          </a:p>
        </p:txBody>
      </p:sp>
      <p:sp>
        <p:nvSpPr>
          <p:cNvPr id="13" name="Right Triangle 12">
            <a:extLst>
              <a:ext uri="{FF2B5EF4-FFF2-40B4-BE49-F238E27FC236}">
                <a16:creationId xmlns:a16="http://schemas.microsoft.com/office/drawing/2014/main" id="{93ED44E1-2135-816B-189D-08A14EE7E382}"/>
              </a:ext>
            </a:extLst>
          </p:cNvPr>
          <p:cNvSpPr/>
          <p:nvPr/>
        </p:nvSpPr>
        <p:spPr>
          <a:xfrm>
            <a:off x="0" y="5159734"/>
            <a:ext cx="3782860" cy="1698266"/>
          </a:xfrm>
          <a:prstGeom prst="rtTriangle">
            <a:avLst/>
          </a:prstGeom>
          <a:solidFill>
            <a:schemeClr val="bg1">
              <a:alpha val="3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4" name="Right Triangle 13">
            <a:extLst>
              <a:ext uri="{FF2B5EF4-FFF2-40B4-BE49-F238E27FC236}">
                <a16:creationId xmlns:a16="http://schemas.microsoft.com/office/drawing/2014/main" id="{6D2242F5-2B88-D869-C912-01D96B40F0D8}"/>
              </a:ext>
            </a:extLst>
          </p:cNvPr>
          <p:cNvSpPr/>
          <p:nvPr/>
        </p:nvSpPr>
        <p:spPr>
          <a:xfrm flipH="1">
            <a:off x="3043824" y="3241"/>
            <a:ext cx="1493770" cy="6857999"/>
          </a:xfrm>
          <a:prstGeom prst="rtTriangle">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0" name="Title 1">
            <a:extLst>
              <a:ext uri="{FF2B5EF4-FFF2-40B4-BE49-F238E27FC236}">
                <a16:creationId xmlns:a16="http://schemas.microsoft.com/office/drawing/2014/main" id="{3286389E-AFA7-7A09-74BE-C9443F1B3FF0}"/>
              </a:ext>
            </a:extLst>
          </p:cNvPr>
          <p:cNvSpPr txBox="1">
            <a:spLocks/>
          </p:cNvSpPr>
          <p:nvPr/>
        </p:nvSpPr>
        <p:spPr>
          <a:xfrm>
            <a:off x="642297" y="2875002"/>
            <a:ext cx="3084930" cy="6093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4400" dirty="0">
                <a:solidFill>
                  <a:schemeClr val="bg1"/>
                </a:solidFill>
                <a:latin typeface="Gill Sans MT" panose="020B0502020104020203" pitchFamily="34" charset="0"/>
              </a:rPr>
              <a:t>Get in touch</a:t>
            </a:r>
          </a:p>
        </p:txBody>
      </p:sp>
      <p:sp>
        <p:nvSpPr>
          <p:cNvPr id="24" name="AutoShape 10">
            <a:extLst>
              <a:ext uri="{FF2B5EF4-FFF2-40B4-BE49-F238E27FC236}">
                <a16:creationId xmlns:a16="http://schemas.microsoft.com/office/drawing/2014/main" id="{61046637-F6CF-391A-71C1-B02D15C9989E}"/>
              </a:ext>
            </a:extLst>
          </p:cNvPr>
          <p:cNvSpPr>
            <a:spLocks noChangeAspect="1" noChangeArrowheads="1" noTextEdit="1"/>
          </p:cNvSpPr>
          <p:nvPr/>
        </p:nvSpPr>
        <p:spPr bwMode="auto">
          <a:xfrm>
            <a:off x="542708" y="1962774"/>
            <a:ext cx="945112" cy="94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Connector 36">
            <a:extLst>
              <a:ext uri="{FF2B5EF4-FFF2-40B4-BE49-F238E27FC236}">
                <a16:creationId xmlns:a16="http://schemas.microsoft.com/office/drawing/2014/main" id="{4C2FE998-E4CB-C084-5F6D-CCB1DFF42156}"/>
              </a:ext>
            </a:extLst>
          </p:cNvPr>
          <p:cNvCxnSpPr/>
          <p:nvPr/>
        </p:nvCxnSpPr>
        <p:spPr>
          <a:xfrm>
            <a:off x="5432647" y="0"/>
            <a:ext cx="0" cy="685800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3" name="Right Triangle 32">
            <a:extLst>
              <a:ext uri="{FF2B5EF4-FFF2-40B4-BE49-F238E27FC236}">
                <a16:creationId xmlns:a16="http://schemas.microsoft.com/office/drawing/2014/main" id="{25B04B32-5CAA-2C9C-0680-AD98ABA8178C}"/>
              </a:ext>
            </a:extLst>
          </p:cNvPr>
          <p:cNvSpPr/>
          <p:nvPr/>
        </p:nvSpPr>
        <p:spPr>
          <a:xfrm flipH="1" flipV="1">
            <a:off x="0" y="-29819"/>
            <a:ext cx="12193354" cy="1196970"/>
          </a:xfrm>
          <a:prstGeom prst="rtTriangle">
            <a:avLst/>
          </a:prstGeom>
          <a:solidFill>
            <a:schemeClr val="bg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graphicFrame>
        <p:nvGraphicFramePr>
          <p:cNvPr id="11" name="Object 10" hidden="1">
            <a:extLst>
              <a:ext uri="{FF2B5EF4-FFF2-40B4-BE49-F238E27FC236}">
                <a16:creationId xmlns:a16="http://schemas.microsoft.com/office/drawing/2014/main" id="{8916AD94-01BD-B1BC-4AE4-0B696BF05BD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28" imgH="328" progId="TCLayout.ActiveDocument.1">
                  <p:embed/>
                </p:oleObj>
              </mc:Choice>
              <mc:Fallback>
                <p:oleObj name="think-cell Slide" r:id="rId7" imgW="328" imgH="328" progId="TCLayout.ActiveDocument.1">
                  <p:embed/>
                  <p:pic>
                    <p:nvPicPr>
                      <p:cNvPr id="11" name="Object 10" hidden="1">
                        <a:extLst>
                          <a:ext uri="{FF2B5EF4-FFF2-40B4-BE49-F238E27FC236}">
                            <a16:creationId xmlns:a16="http://schemas.microsoft.com/office/drawing/2014/main" id="{8916AD94-01BD-B1BC-4AE4-0B696BF05BDC}"/>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D79A4027-67CC-6A51-405D-9D5B3CCC065C}"/>
              </a:ext>
            </a:extLst>
          </p:cNvPr>
          <p:cNvGrpSpPr/>
          <p:nvPr/>
        </p:nvGrpSpPr>
        <p:grpSpPr>
          <a:xfrm>
            <a:off x="5160045" y="1545003"/>
            <a:ext cx="545204" cy="545204"/>
            <a:chOff x="4476664" y="1093728"/>
            <a:chExt cx="966523" cy="966523"/>
          </a:xfrm>
        </p:grpSpPr>
        <p:sp>
          <p:nvSpPr>
            <p:cNvPr id="20" name="Oval 19">
              <a:extLst>
                <a:ext uri="{FF2B5EF4-FFF2-40B4-BE49-F238E27FC236}">
                  <a16:creationId xmlns:a16="http://schemas.microsoft.com/office/drawing/2014/main" id="{2DF18A08-C531-A993-7AF6-6E2DCFFFF6F2}"/>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21" name="Oval 20">
              <a:extLst>
                <a:ext uri="{FF2B5EF4-FFF2-40B4-BE49-F238E27FC236}">
                  <a16:creationId xmlns:a16="http://schemas.microsoft.com/office/drawing/2014/main" id="{1D83C962-D9AB-89EA-74DC-8CD88DCF0E09}"/>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dirty="0">
                <a:solidFill>
                  <a:schemeClr val="tx1">
                    <a:lumMod val="50000"/>
                  </a:schemeClr>
                </a:solidFill>
              </a:endParaRPr>
            </a:p>
          </p:txBody>
        </p:sp>
        <p:grpSp>
          <p:nvGrpSpPr>
            <p:cNvPr id="22" name="Group 21">
              <a:extLst>
                <a:ext uri="{FF2B5EF4-FFF2-40B4-BE49-F238E27FC236}">
                  <a16:creationId xmlns:a16="http://schemas.microsoft.com/office/drawing/2014/main" id="{09FA0052-5A70-EC7A-0C28-5E3C0C52B8E5}"/>
                </a:ext>
              </a:extLst>
            </p:cNvPr>
            <p:cNvGrpSpPr>
              <a:grpSpLocks noChangeAspect="1"/>
            </p:cNvGrpSpPr>
            <p:nvPr/>
          </p:nvGrpSpPr>
          <p:grpSpPr>
            <a:xfrm>
              <a:off x="4712433" y="1329497"/>
              <a:ext cx="494985" cy="494985"/>
              <a:chOff x="982662" y="1847850"/>
              <a:chExt cx="269875" cy="269875"/>
            </a:xfrm>
          </p:grpSpPr>
          <p:sp>
            <p:nvSpPr>
              <p:cNvPr id="23" name="Oval 50">
                <a:extLst>
                  <a:ext uri="{FF2B5EF4-FFF2-40B4-BE49-F238E27FC236}">
                    <a16:creationId xmlns:a16="http://schemas.microsoft.com/office/drawing/2014/main" id="{6D1BE008-1B9C-261C-8C45-F0F1F526C90E}"/>
                  </a:ext>
                </a:extLst>
              </p:cNvPr>
              <p:cNvSpPr>
                <a:spLocks noChangeArrowheads="1"/>
              </p:cNvSpPr>
              <p:nvPr/>
            </p:nvSpPr>
            <p:spPr bwMode="auto">
              <a:xfrm>
                <a:off x="982662" y="1847850"/>
                <a:ext cx="269875" cy="269875"/>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26" name="Freeform 51">
                <a:extLst>
                  <a:ext uri="{FF2B5EF4-FFF2-40B4-BE49-F238E27FC236}">
                    <a16:creationId xmlns:a16="http://schemas.microsoft.com/office/drawing/2014/main" id="{28C8ADAA-DDD6-5777-4FE3-D652094A85C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27" name="Group 26">
            <a:extLst>
              <a:ext uri="{FF2B5EF4-FFF2-40B4-BE49-F238E27FC236}">
                <a16:creationId xmlns:a16="http://schemas.microsoft.com/office/drawing/2014/main" id="{4A97B081-7B43-288B-69EB-0543061B292D}"/>
              </a:ext>
            </a:extLst>
          </p:cNvPr>
          <p:cNvGrpSpPr/>
          <p:nvPr/>
        </p:nvGrpSpPr>
        <p:grpSpPr>
          <a:xfrm>
            <a:off x="5160045" y="2641231"/>
            <a:ext cx="545204" cy="545204"/>
            <a:chOff x="4476664" y="1093728"/>
            <a:chExt cx="966523" cy="966523"/>
          </a:xfrm>
        </p:grpSpPr>
        <p:sp>
          <p:nvSpPr>
            <p:cNvPr id="28" name="Oval 27">
              <a:extLst>
                <a:ext uri="{FF2B5EF4-FFF2-40B4-BE49-F238E27FC236}">
                  <a16:creationId xmlns:a16="http://schemas.microsoft.com/office/drawing/2014/main" id="{E989F858-5EB6-4567-0B6B-7211DCA4DC2E}"/>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29" name="Oval 28">
              <a:extLst>
                <a:ext uri="{FF2B5EF4-FFF2-40B4-BE49-F238E27FC236}">
                  <a16:creationId xmlns:a16="http://schemas.microsoft.com/office/drawing/2014/main" id="{B6EC5109-EA07-2087-F595-6ABA9B29A2CB}"/>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30" name="Group 29">
              <a:extLst>
                <a:ext uri="{FF2B5EF4-FFF2-40B4-BE49-F238E27FC236}">
                  <a16:creationId xmlns:a16="http://schemas.microsoft.com/office/drawing/2014/main" id="{8AA7589A-BC89-11C5-A498-FF95ADE55FAC}"/>
                </a:ext>
              </a:extLst>
            </p:cNvPr>
            <p:cNvGrpSpPr>
              <a:grpSpLocks noChangeAspect="1"/>
            </p:cNvGrpSpPr>
            <p:nvPr/>
          </p:nvGrpSpPr>
          <p:grpSpPr>
            <a:xfrm>
              <a:off x="4712433" y="1329497"/>
              <a:ext cx="494985" cy="494985"/>
              <a:chOff x="982662" y="1847850"/>
              <a:chExt cx="269875" cy="269875"/>
            </a:xfrm>
          </p:grpSpPr>
          <p:sp>
            <p:nvSpPr>
              <p:cNvPr id="31" name="Oval 50">
                <a:extLst>
                  <a:ext uri="{FF2B5EF4-FFF2-40B4-BE49-F238E27FC236}">
                    <a16:creationId xmlns:a16="http://schemas.microsoft.com/office/drawing/2014/main" id="{14379BA2-A8DD-B19F-B18A-2CBB6D9D5B1E}"/>
                  </a:ext>
                </a:extLst>
              </p:cNvPr>
              <p:cNvSpPr>
                <a:spLocks noChangeArrowheads="1"/>
              </p:cNvSpPr>
              <p:nvPr/>
            </p:nvSpPr>
            <p:spPr bwMode="auto">
              <a:xfrm>
                <a:off x="982662" y="1847850"/>
                <a:ext cx="269875" cy="269875"/>
              </a:xfrm>
              <a:prstGeom prst="ellipse">
                <a:avLst/>
              </a:prstGeom>
              <a:solidFill>
                <a:srgbClr val="B32122"/>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32" name="Freeform 51">
                <a:extLst>
                  <a:ext uri="{FF2B5EF4-FFF2-40B4-BE49-F238E27FC236}">
                    <a16:creationId xmlns:a16="http://schemas.microsoft.com/office/drawing/2014/main" id="{060DE604-2A93-F111-541E-41200EBD456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51" name="Group 50">
            <a:extLst>
              <a:ext uri="{FF2B5EF4-FFF2-40B4-BE49-F238E27FC236}">
                <a16:creationId xmlns:a16="http://schemas.microsoft.com/office/drawing/2014/main" id="{4E3B1FBE-7BAF-A6AD-B3A6-0FB7EB755925}"/>
              </a:ext>
            </a:extLst>
          </p:cNvPr>
          <p:cNvGrpSpPr/>
          <p:nvPr/>
        </p:nvGrpSpPr>
        <p:grpSpPr>
          <a:xfrm>
            <a:off x="5160045" y="3690301"/>
            <a:ext cx="545204" cy="545204"/>
            <a:chOff x="4476664" y="1093728"/>
            <a:chExt cx="966523" cy="966523"/>
          </a:xfrm>
        </p:grpSpPr>
        <p:sp>
          <p:nvSpPr>
            <p:cNvPr id="52" name="Oval 51">
              <a:extLst>
                <a:ext uri="{FF2B5EF4-FFF2-40B4-BE49-F238E27FC236}">
                  <a16:creationId xmlns:a16="http://schemas.microsoft.com/office/drawing/2014/main" id="{5ED3E553-179B-D38B-CA21-71E89D9245D0}"/>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53" name="Oval 52">
              <a:extLst>
                <a:ext uri="{FF2B5EF4-FFF2-40B4-BE49-F238E27FC236}">
                  <a16:creationId xmlns:a16="http://schemas.microsoft.com/office/drawing/2014/main" id="{CB238F89-F496-22F4-444F-91626AA48355}"/>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54" name="Group 53">
              <a:extLst>
                <a:ext uri="{FF2B5EF4-FFF2-40B4-BE49-F238E27FC236}">
                  <a16:creationId xmlns:a16="http://schemas.microsoft.com/office/drawing/2014/main" id="{1A0057F7-FAE2-0610-9492-C627A73D78B3}"/>
                </a:ext>
              </a:extLst>
            </p:cNvPr>
            <p:cNvGrpSpPr>
              <a:grpSpLocks noChangeAspect="1"/>
            </p:cNvGrpSpPr>
            <p:nvPr/>
          </p:nvGrpSpPr>
          <p:grpSpPr>
            <a:xfrm>
              <a:off x="4712433" y="1329497"/>
              <a:ext cx="494985" cy="494985"/>
              <a:chOff x="982662" y="1847850"/>
              <a:chExt cx="269875" cy="269875"/>
            </a:xfrm>
          </p:grpSpPr>
          <p:sp>
            <p:nvSpPr>
              <p:cNvPr id="55" name="Oval 50">
                <a:extLst>
                  <a:ext uri="{FF2B5EF4-FFF2-40B4-BE49-F238E27FC236}">
                    <a16:creationId xmlns:a16="http://schemas.microsoft.com/office/drawing/2014/main" id="{5324AB05-F3AC-D42E-F797-71045D50C8EB}"/>
                  </a:ext>
                </a:extLst>
              </p:cNvPr>
              <p:cNvSpPr>
                <a:spLocks noChangeArrowheads="1"/>
              </p:cNvSpPr>
              <p:nvPr/>
            </p:nvSpPr>
            <p:spPr bwMode="auto">
              <a:xfrm>
                <a:off x="982662" y="1847850"/>
                <a:ext cx="269875" cy="269875"/>
              </a:xfrm>
              <a:prstGeom prst="ellipse">
                <a:avLst/>
              </a:prstGeom>
              <a:solidFill>
                <a:srgbClr val="B32122"/>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56" name="Freeform 51">
                <a:extLst>
                  <a:ext uri="{FF2B5EF4-FFF2-40B4-BE49-F238E27FC236}">
                    <a16:creationId xmlns:a16="http://schemas.microsoft.com/office/drawing/2014/main" id="{B399054B-D3D0-A10F-592E-E680A38152E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grpSp>
        <p:nvGrpSpPr>
          <p:cNvPr id="57" name="Group 56">
            <a:extLst>
              <a:ext uri="{FF2B5EF4-FFF2-40B4-BE49-F238E27FC236}">
                <a16:creationId xmlns:a16="http://schemas.microsoft.com/office/drawing/2014/main" id="{B55E76BC-C9EB-1E27-95DA-5D710186B209}"/>
              </a:ext>
            </a:extLst>
          </p:cNvPr>
          <p:cNvGrpSpPr/>
          <p:nvPr/>
        </p:nvGrpSpPr>
        <p:grpSpPr>
          <a:xfrm>
            <a:off x="5160045" y="4811477"/>
            <a:ext cx="545204" cy="545204"/>
            <a:chOff x="4476664" y="1093728"/>
            <a:chExt cx="966523" cy="966523"/>
          </a:xfrm>
        </p:grpSpPr>
        <p:sp>
          <p:nvSpPr>
            <p:cNvPr id="58" name="Oval 57">
              <a:extLst>
                <a:ext uri="{FF2B5EF4-FFF2-40B4-BE49-F238E27FC236}">
                  <a16:creationId xmlns:a16="http://schemas.microsoft.com/office/drawing/2014/main" id="{4D3162AF-4BFE-1F0E-544D-2337374D17CF}"/>
                </a:ext>
              </a:extLst>
            </p:cNvPr>
            <p:cNvSpPr/>
            <p:nvPr/>
          </p:nvSpPr>
          <p:spPr>
            <a:xfrm>
              <a:off x="4476664" y="109372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sp>
          <p:nvSpPr>
            <p:cNvPr id="59" name="Oval 58">
              <a:extLst>
                <a:ext uri="{FF2B5EF4-FFF2-40B4-BE49-F238E27FC236}">
                  <a16:creationId xmlns:a16="http://schemas.microsoft.com/office/drawing/2014/main" id="{25ECA060-7241-96B6-6280-1114AC10F0D9}"/>
                </a:ext>
              </a:extLst>
            </p:cNvPr>
            <p:cNvSpPr/>
            <p:nvPr/>
          </p:nvSpPr>
          <p:spPr>
            <a:xfrm>
              <a:off x="4556935" y="117400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tx1">
                    <a:lumMod val="50000"/>
                  </a:schemeClr>
                </a:solidFill>
              </a:endParaRPr>
            </a:p>
          </p:txBody>
        </p:sp>
        <p:grpSp>
          <p:nvGrpSpPr>
            <p:cNvPr id="60" name="Group 59">
              <a:extLst>
                <a:ext uri="{FF2B5EF4-FFF2-40B4-BE49-F238E27FC236}">
                  <a16:creationId xmlns:a16="http://schemas.microsoft.com/office/drawing/2014/main" id="{C252F906-D47A-A5D5-3A59-7695FBE0B4A4}"/>
                </a:ext>
              </a:extLst>
            </p:cNvPr>
            <p:cNvGrpSpPr>
              <a:grpSpLocks noChangeAspect="1"/>
            </p:cNvGrpSpPr>
            <p:nvPr/>
          </p:nvGrpSpPr>
          <p:grpSpPr>
            <a:xfrm>
              <a:off x="4712433" y="1329497"/>
              <a:ext cx="494985" cy="494985"/>
              <a:chOff x="982662" y="1847850"/>
              <a:chExt cx="269875" cy="269875"/>
            </a:xfrm>
          </p:grpSpPr>
          <p:sp>
            <p:nvSpPr>
              <p:cNvPr id="61" name="Oval 50">
                <a:extLst>
                  <a:ext uri="{FF2B5EF4-FFF2-40B4-BE49-F238E27FC236}">
                    <a16:creationId xmlns:a16="http://schemas.microsoft.com/office/drawing/2014/main" id="{195A2997-DC70-73A8-7D08-636F23AEBCF5}"/>
                  </a:ext>
                </a:extLst>
              </p:cNvPr>
              <p:cNvSpPr>
                <a:spLocks noChangeArrowheads="1"/>
              </p:cNvSpPr>
              <p:nvPr/>
            </p:nvSpPr>
            <p:spPr bwMode="auto">
              <a:xfrm>
                <a:off x="982662" y="1847850"/>
                <a:ext cx="269875" cy="269875"/>
              </a:xfrm>
              <a:prstGeom prst="ellipse">
                <a:avLst/>
              </a:prstGeom>
              <a:solidFill>
                <a:srgbClr val="B32122"/>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62" name="Freeform 51">
                <a:extLst>
                  <a:ext uri="{FF2B5EF4-FFF2-40B4-BE49-F238E27FC236}">
                    <a16:creationId xmlns:a16="http://schemas.microsoft.com/office/drawing/2014/main" id="{D51D28B1-2A63-86F7-72AA-45CC944F5C6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grpSp>
      <p:sp>
        <p:nvSpPr>
          <p:cNvPr id="65" name="Rectangle 64">
            <a:extLst>
              <a:ext uri="{FF2B5EF4-FFF2-40B4-BE49-F238E27FC236}">
                <a16:creationId xmlns:a16="http://schemas.microsoft.com/office/drawing/2014/main" id="{8A82343E-4E9D-AFC7-88A2-898DD05DD3F1}"/>
              </a:ext>
            </a:extLst>
          </p:cNvPr>
          <p:cNvSpPr/>
          <p:nvPr/>
        </p:nvSpPr>
        <p:spPr>
          <a:xfrm>
            <a:off x="5796083" y="1661905"/>
            <a:ext cx="5809800" cy="31139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57395" lvl="1">
              <a:buClr>
                <a:srgbClr val="335B74">
                  <a:lumMod val="100000"/>
                </a:srgbClr>
              </a:buClr>
              <a:buSzPct val="100000"/>
              <a:defRPr/>
            </a:pPr>
            <a:r>
              <a:rPr lang="en-US" dirty="0">
                <a:solidFill>
                  <a:srgbClr val="575757"/>
                </a:solidFill>
                <a:latin typeface="Gill Sans MT" panose="020B0502020104020203" pitchFamily="34" charset="0"/>
                <a:cs typeface="Henderson BCG Sans" panose="020B0502030402020204" pitchFamily="34" charset="0"/>
              </a:rPr>
              <a:t>Email sales@bsuinc.com</a:t>
            </a:r>
          </a:p>
        </p:txBody>
      </p:sp>
      <p:sp>
        <p:nvSpPr>
          <p:cNvPr id="67" name="Rectangle 66">
            <a:extLst>
              <a:ext uri="{FF2B5EF4-FFF2-40B4-BE49-F238E27FC236}">
                <a16:creationId xmlns:a16="http://schemas.microsoft.com/office/drawing/2014/main" id="{591BAFA1-62DC-5484-C866-B1F13FDE9C64}"/>
              </a:ext>
            </a:extLst>
          </p:cNvPr>
          <p:cNvSpPr/>
          <p:nvPr/>
        </p:nvSpPr>
        <p:spPr>
          <a:xfrm>
            <a:off x="5796082" y="3768282"/>
            <a:ext cx="5809801" cy="37695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57395" lvl="1">
              <a:buClr>
                <a:srgbClr val="335B74">
                  <a:lumMod val="100000"/>
                </a:srgbClr>
              </a:buClr>
              <a:buSzPct val="100000"/>
              <a:defRPr/>
            </a:pPr>
            <a:r>
              <a:rPr lang="en-US" dirty="0">
                <a:solidFill>
                  <a:srgbClr val="575757"/>
                </a:solidFill>
                <a:latin typeface="Gill Sans MT" panose="020B0502020104020203" pitchFamily="34" charset="0"/>
                <a:cs typeface="Henderson BCG Sans" panose="020B0502030402020204" pitchFamily="34" charset="0"/>
              </a:rPr>
              <a:t>Learn more at www.bsuinc.com</a:t>
            </a:r>
          </a:p>
        </p:txBody>
      </p:sp>
      <p:sp>
        <p:nvSpPr>
          <p:cNvPr id="85" name="Rectangle 84">
            <a:extLst>
              <a:ext uri="{FF2B5EF4-FFF2-40B4-BE49-F238E27FC236}">
                <a16:creationId xmlns:a16="http://schemas.microsoft.com/office/drawing/2014/main" id="{C022B020-2840-70AD-4787-6E9F79A0E2AA}"/>
              </a:ext>
            </a:extLst>
          </p:cNvPr>
          <p:cNvSpPr/>
          <p:nvPr/>
        </p:nvSpPr>
        <p:spPr>
          <a:xfrm>
            <a:off x="5796080" y="4895599"/>
            <a:ext cx="6058237" cy="37695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57395" lvl="1">
              <a:buClr>
                <a:srgbClr val="335B74">
                  <a:lumMod val="100000"/>
                </a:srgbClr>
              </a:buClr>
              <a:buSzPct val="100000"/>
              <a:defRPr/>
            </a:pPr>
            <a:r>
              <a:rPr lang="en-US" dirty="0">
                <a:solidFill>
                  <a:srgbClr val="575757"/>
                </a:solidFill>
                <a:latin typeface="Gill Sans MT" panose="020B0502020104020203" pitchFamily="34" charset="0"/>
                <a:cs typeface="Henderson BCG Sans" panose="020B0502030402020204" pitchFamily="34" charset="0"/>
              </a:rPr>
              <a:t>Visit us at 1611 Headway Circle, Building 1, Suite 200, TX 78754</a:t>
            </a:r>
          </a:p>
        </p:txBody>
      </p:sp>
      <p:sp>
        <p:nvSpPr>
          <p:cNvPr id="86" name="Rectangle 85">
            <a:extLst>
              <a:ext uri="{FF2B5EF4-FFF2-40B4-BE49-F238E27FC236}">
                <a16:creationId xmlns:a16="http://schemas.microsoft.com/office/drawing/2014/main" id="{6350BEBD-628C-72D2-C0A1-E664C15CF02F}"/>
              </a:ext>
            </a:extLst>
          </p:cNvPr>
          <p:cNvSpPr/>
          <p:nvPr/>
        </p:nvSpPr>
        <p:spPr>
          <a:xfrm>
            <a:off x="5796082" y="2767604"/>
            <a:ext cx="5809801" cy="3349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57395" lvl="1">
              <a:buClr>
                <a:srgbClr val="335B74">
                  <a:lumMod val="100000"/>
                </a:srgbClr>
              </a:buClr>
              <a:buSzPct val="100000"/>
              <a:defRPr/>
            </a:pPr>
            <a:r>
              <a:rPr lang="en-US" dirty="0">
                <a:solidFill>
                  <a:srgbClr val="575757"/>
                </a:solidFill>
                <a:latin typeface="Gill Sans MT" panose="020B0502020104020203" pitchFamily="34" charset="0"/>
                <a:cs typeface="Henderson BCG Sans" panose="020B0502030402020204" pitchFamily="34" charset="0"/>
              </a:rPr>
              <a:t>Phone (512) 284-7911</a:t>
            </a:r>
          </a:p>
        </p:txBody>
      </p:sp>
      <p:pic>
        <p:nvPicPr>
          <p:cNvPr id="3" name="Picture 2">
            <a:extLst>
              <a:ext uri="{FF2B5EF4-FFF2-40B4-BE49-F238E27FC236}">
                <a16:creationId xmlns:a16="http://schemas.microsoft.com/office/drawing/2014/main" id="{9F16BF6F-89E9-2EF7-DEFA-0968BCC97196}"/>
              </a:ext>
            </a:extLst>
          </p:cNvPr>
          <p:cNvPicPr>
            <a:picLocks noChangeAspect="1"/>
          </p:cNvPicPr>
          <p:nvPr/>
        </p:nvPicPr>
        <p:blipFill>
          <a:blip r:embed="rId9"/>
          <a:stretch>
            <a:fillRect/>
          </a:stretch>
        </p:blipFill>
        <p:spPr>
          <a:xfrm>
            <a:off x="11177401" y="159180"/>
            <a:ext cx="861873" cy="466259"/>
          </a:xfrm>
          <a:prstGeom prst="rect">
            <a:avLst/>
          </a:prstGeom>
        </p:spPr>
      </p:pic>
    </p:spTree>
    <p:extLst>
      <p:ext uri="{BB962C8B-B14F-4D97-AF65-F5344CB8AC3E}">
        <p14:creationId xmlns:p14="http://schemas.microsoft.com/office/powerpoint/2010/main" val="263255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12AF6-43CA-5309-BB4A-B809438EC5B7}"/>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7198A13F-791A-CD0E-143B-394D060F68F3}"/>
              </a:ext>
            </a:extLst>
          </p:cNvPr>
          <p:cNvPicPr>
            <a:picLocks noChangeAspect="1"/>
          </p:cNvPicPr>
          <p:nvPr/>
        </p:nvPicPr>
        <p:blipFill>
          <a:blip r:embed="rId3"/>
          <a:srcRect l="204" t="23147" b="11860"/>
          <a:stretch>
            <a:fillRect/>
          </a:stretch>
        </p:blipFill>
        <p:spPr>
          <a:xfrm>
            <a:off x="0" y="0"/>
            <a:ext cx="12192000" cy="5293441"/>
          </a:xfrm>
          <a:prstGeom prst="rect">
            <a:avLst/>
          </a:prstGeom>
        </p:spPr>
      </p:pic>
      <p:sp>
        <p:nvSpPr>
          <p:cNvPr id="11" name="Rectangle 10">
            <a:extLst>
              <a:ext uri="{FF2B5EF4-FFF2-40B4-BE49-F238E27FC236}">
                <a16:creationId xmlns:a16="http://schemas.microsoft.com/office/drawing/2014/main" id="{2F3EDF49-CB94-763C-EACC-43558049A681}"/>
              </a:ext>
            </a:extLst>
          </p:cNvPr>
          <p:cNvSpPr/>
          <p:nvPr/>
        </p:nvSpPr>
        <p:spPr>
          <a:xfrm>
            <a:off x="6955" y="0"/>
            <a:ext cx="12191999" cy="6858000"/>
          </a:xfrm>
          <a:prstGeom prst="rect">
            <a:avLst/>
          </a:prstGeom>
          <a:solidFill>
            <a:srgbClr val="000000">
              <a:alpha val="5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63" name="Object 62" hidden="1">
            <a:extLst>
              <a:ext uri="{FF2B5EF4-FFF2-40B4-BE49-F238E27FC236}">
                <a16:creationId xmlns:a16="http://schemas.microsoft.com/office/drawing/2014/main" id="{D9A83365-3DD3-8C5E-E092-9073A26D2EB4}"/>
              </a:ext>
            </a:extLst>
          </p:cNvPr>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3" name="Object 62" hidden="1">
                        <a:extLst>
                          <a:ext uri="{FF2B5EF4-FFF2-40B4-BE49-F238E27FC236}">
                            <a16:creationId xmlns:a16="http://schemas.microsoft.com/office/drawing/2014/main" id="{D9A83365-3DD3-8C5E-E092-9073A26D2E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FC969DF-CFE2-1195-CC39-E01FF1953246}"/>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 name="TextBox 5">
            <a:extLst>
              <a:ext uri="{FF2B5EF4-FFF2-40B4-BE49-F238E27FC236}">
                <a16:creationId xmlns:a16="http://schemas.microsoft.com/office/drawing/2014/main" id="{2214E5D0-2BAA-A5B2-7F9B-08BEB50B3D88}"/>
              </a:ext>
            </a:extLst>
          </p:cNvPr>
          <p:cNvSpPr txBox="1"/>
          <p:nvPr/>
        </p:nvSpPr>
        <p:spPr>
          <a:xfrm>
            <a:off x="0" y="5293442"/>
            <a:ext cx="12192000" cy="1564558"/>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8" name="TextBox 7">
            <a:extLst>
              <a:ext uri="{FF2B5EF4-FFF2-40B4-BE49-F238E27FC236}">
                <a16:creationId xmlns:a16="http://schemas.microsoft.com/office/drawing/2014/main" id="{BB9FBB32-3917-A70D-DB90-2D75B48FF3D6}"/>
              </a:ext>
            </a:extLst>
          </p:cNvPr>
          <p:cNvSpPr txBox="1"/>
          <p:nvPr/>
        </p:nvSpPr>
        <p:spPr>
          <a:xfrm>
            <a:off x="635818" y="632805"/>
            <a:ext cx="8136041" cy="5528592"/>
          </a:xfrm>
          <a:prstGeom prst="rect">
            <a:avLst/>
          </a:prstGeom>
          <a:solidFill>
            <a:srgbClr val="63666A">
              <a:alpha val="8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chemeClr val="tx1">
                    <a:lumMod val="50000"/>
                  </a:schemeClr>
                </a:solidFill>
              </a:defRPr>
            </a:lvl1pPr>
          </a:lstStyle>
          <a:p>
            <a:endParaRPr lang="en-US" dirty="0"/>
          </a:p>
        </p:txBody>
      </p:sp>
      <p:sp>
        <p:nvSpPr>
          <p:cNvPr id="9" name="Title 10">
            <a:extLst>
              <a:ext uri="{FF2B5EF4-FFF2-40B4-BE49-F238E27FC236}">
                <a16:creationId xmlns:a16="http://schemas.microsoft.com/office/drawing/2014/main" id="{0A513FD7-7977-21C6-9D09-C3FB53D1E53E}"/>
              </a:ext>
            </a:extLst>
          </p:cNvPr>
          <p:cNvSpPr txBox="1">
            <a:spLocks/>
          </p:cNvSpPr>
          <p:nvPr/>
        </p:nvSpPr>
        <p:spPr>
          <a:xfrm>
            <a:off x="1117415" y="3269135"/>
            <a:ext cx="6868800" cy="1883593"/>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endParaRPr lang="en-US" sz="2800" dirty="0">
              <a:solidFill>
                <a:srgbClr val="FFFFFF"/>
              </a:solidFill>
              <a:latin typeface="Gill Sans MT" panose="020B0502020104020203" pitchFamily="34" charset="0"/>
            </a:endParaRPr>
          </a:p>
          <a:p>
            <a:endParaRPr lang="en-US" sz="2800" dirty="0">
              <a:solidFill>
                <a:srgbClr val="FFFFFF"/>
              </a:solidFill>
              <a:latin typeface="Gill Sans MT" panose="020B0502020104020203" pitchFamily="34" charset="0"/>
            </a:endParaRPr>
          </a:p>
          <a:p>
            <a:r>
              <a:rPr lang="en-US" sz="1000" dirty="0">
                <a:solidFill>
                  <a:srgbClr val="FFFFFF"/>
                </a:solidFill>
                <a:latin typeface="Gill Sans MT" panose="020B0502020104020203" pitchFamily="34" charset="0"/>
              </a:rPr>
              <a:t>Disclaimer: The information contained in this presentation is provided by BSU for informational purposes only and is intended solely for the use of the recipient in evaluating the technical capabilities and services of BSU. This material may not be reproduced, distributed, or disclosed to any third party without the prior written consent of BSU. This presentation is intended to support discussion and overview only. The information provided is not exhaustive and should not be relied upon as a standalone document. Any descriptions of processes, equipment, capabilities, or performance are subject to change without notice. While BSU believes the information presented to be accurate as of the date of presentation, no warranties or representations, express or implied, are made regarding completeness, accuracy, or suitability for a particular application. Actual manufacturing results, yields, and performance may vary based on design, materials, specifications, and operating conditions. </a:t>
            </a:r>
          </a:p>
        </p:txBody>
      </p:sp>
      <p:pic>
        <p:nvPicPr>
          <p:cNvPr id="2" name="Picture 1">
            <a:extLst>
              <a:ext uri="{FF2B5EF4-FFF2-40B4-BE49-F238E27FC236}">
                <a16:creationId xmlns:a16="http://schemas.microsoft.com/office/drawing/2014/main" id="{ABCE98D5-0BA4-9DC4-05F3-3D71E6D5C489}"/>
              </a:ext>
            </a:extLst>
          </p:cNvPr>
          <p:cNvPicPr>
            <a:picLocks noChangeAspect="1"/>
          </p:cNvPicPr>
          <p:nvPr/>
        </p:nvPicPr>
        <p:blipFill>
          <a:blip r:embed="rId6"/>
          <a:stretch>
            <a:fillRect/>
          </a:stretch>
        </p:blipFill>
        <p:spPr>
          <a:xfrm>
            <a:off x="10641221" y="5931901"/>
            <a:ext cx="1215221" cy="657415"/>
          </a:xfrm>
          <a:prstGeom prst="rect">
            <a:avLst/>
          </a:prstGeom>
        </p:spPr>
      </p:pic>
    </p:spTree>
    <p:extLst>
      <p:ext uri="{BB962C8B-B14F-4D97-AF65-F5344CB8AC3E}">
        <p14:creationId xmlns:p14="http://schemas.microsoft.com/office/powerpoint/2010/main" val="1255544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ID" val="QYN7oXGD"/>
  <p:tag name="EE4P_STYLE_NAME" val="Connecticut Grid 16:9"/>
  <p:tag name="THINKCELLUNDODONOTDELETE"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DECKSTER_PRESENTATION_ID" val="4e618d93-ec92-4e75-94e5-2435d3f30a72"/>
  <p:tag name="THINKCELLPRESENTATIONDONOTDELETE" val="&lt;?xml version=&quot;1.0&quot; encoding=&quot;UTF-16&quot; standalone=&quot;yes&quot;?&gt;&lt;root reqver=&quot;28224&quot;&gt;&lt;version val=&quot;357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F0&quot; g=&quot;C1&quot; b=&quot;BF&quot;/&gt;&lt;/elem&gt;&lt;elem m_fUsage=&quot;9.00000000000000022204E-01&quot;&gt;&lt;m_msothmcolidx val=&quot;0&quot;/&gt;&lt;m_rgb r=&quot;CE&quot; g=&quot;E2&quot; b=&quot;E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FcTuE2F_5rQWCXUepMG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icut Grid 16:9">
  <a:themeElements>
    <a:clrScheme name="Grid based theme color">
      <a:dk1>
        <a:srgbClr val="63666A"/>
      </a:dk1>
      <a:lt1>
        <a:sysClr val="window" lastClr="FFFFFF"/>
      </a:lt1>
      <a:dk2>
        <a:srgbClr val="0076BE"/>
      </a:dk2>
      <a:lt2>
        <a:srgbClr val="F2F2F2"/>
      </a:lt2>
      <a:accent1>
        <a:srgbClr val="003B5F"/>
      </a:accent1>
      <a:accent2>
        <a:srgbClr val="00588E"/>
      </a:accent2>
      <a:accent3>
        <a:srgbClr val="FFC000"/>
      </a:accent3>
      <a:accent4>
        <a:srgbClr val="3FB6FF"/>
      </a:accent4>
      <a:accent5>
        <a:srgbClr val="B1B3B3"/>
      </a:accent5>
      <a:accent6>
        <a:srgbClr val="EB1C24"/>
      </a:accent6>
      <a:hlink>
        <a:srgbClr val="005F37"/>
      </a:hlink>
      <a:folHlink>
        <a:srgbClr val="00BF6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9CFD2B8-95C2-4D14-A0BD-9C06F6D4B3F8}">
  <we:reference id="1e02f4c4-fc90-4da1-8ab3-b26c44d971ec" version="2.2.0.0" store="EXCatalog" storeType="EXCatalog"/>
  <we:alternateReferences/>
  <we:properties>
    <we:property name="ClientColors" value="&quot;[\&quot;#63666A\&quot;,\&quot;#0076BE\&quot;,\&quot;#003B5F\&quot;,\&quot;#00588E\&quot;,\&quot;#FFC000\&quot;,\&quot;#3FB6FF\&quot;,\&quot;#B1B3B3\&quot;,\&quot;#EB1C24\&quot;,\&quot;#00588E\&quot;]&quot;"/>
    <we:property name="ThemeElements" value="&quot;{\&quot;colors\&quot;:[\&quot;#63666A\&quot;,\&quot;#0076BE\&quot;,\&quot;#003B5F\&quot;,\&quot;#00588E\&quot;,\&quot;#FFC000\&quot;,\&quot;#3FB6FF\&quot;,\&quot;#B1B3B3\&quot;,\&quot;#EB1C24\&quot;,\&quot;#00588E\&quot;],\&quot;fonts\&quot;:[\&quot;Trebuchet MS\&quot;]}&quot;"/>
    <we:property name="ClientFonts" value="&quot;[\&quot;Trebuchet MS\&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963e9672-bc96-423c-8899-2a623f0bed9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330774D9372C4A8E2825C7E4477C3B" ma:contentTypeVersion="19" ma:contentTypeDescription="Create a new document." ma:contentTypeScope="" ma:versionID="f4defae17d5dfae71928d18306d120d2">
  <xsd:schema xmlns:xsd="http://www.w3.org/2001/XMLSchema" xmlns:xs="http://www.w3.org/2001/XMLSchema" xmlns:p="http://schemas.microsoft.com/office/2006/metadata/properties" xmlns:ns3="4d5c1b3f-1dea-4670-836f-68fb9e921fae" xmlns:ns4="963e9672-bc96-423c-8899-2a623f0bed9d" targetNamespace="http://schemas.microsoft.com/office/2006/metadata/properties" ma:root="true" ma:fieldsID="78144f48cc1ce2cb689f0060a7de3429" ns3:_="" ns4:_="">
    <xsd:import namespace="4d5c1b3f-1dea-4670-836f-68fb9e921fae"/>
    <xsd:import namespace="963e9672-bc96-423c-8899-2a623f0bed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LengthInSeconds" minOccurs="0"/>
                <xsd:element ref="ns4:MediaServiceLocation" minOccurs="0"/>
                <xsd:element ref="ns4:_activity" minOccurs="0"/>
                <xsd:element ref="ns4:MediaServiceObjectDetectorVersions" minOccurs="0"/>
                <xsd:element ref="ns4:MediaServiceSystemTags" minOccurs="0"/>
                <xsd:element ref="ns4:MediaServiceSearchProperties" minOccurs="0"/>
                <xsd:element ref="ns4: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5c1b3f-1dea-4670-836f-68fb9e921fa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3e9672-bc96-423c-8899-2a623f0bed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9C3450-5F1F-436A-A5DF-47A9DF120D11}">
  <ds:schemaRefs>
    <ds:schemaRef ds:uri="http://schemas.microsoft.com/sharepoint/v3/contenttype/forms"/>
  </ds:schemaRefs>
</ds:datastoreItem>
</file>

<file path=customXml/itemProps2.xml><?xml version="1.0" encoding="utf-8"?>
<ds:datastoreItem xmlns:ds="http://schemas.openxmlformats.org/officeDocument/2006/customXml" ds:itemID="{5637FC03-5FCE-4313-8BC7-1F6BD40D6098}">
  <ds:schemaRefs>
    <ds:schemaRef ds:uri="http://purl.org/dc/elements/1.1/"/>
    <ds:schemaRef ds:uri="http://schemas.microsoft.com/office/infopath/2007/PartnerControls"/>
    <ds:schemaRef ds:uri="4d5c1b3f-1dea-4670-836f-68fb9e921fae"/>
    <ds:schemaRef ds:uri="http://purl.org/dc/terms/"/>
    <ds:schemaRef ds:uri="http://www.w3.org/XML/1998/namespace"/>
    <ds:schemaRef ds:uri="http://schemas.microsoft.com/office/2006/documentManagement/types"/>
    <ds:schemaRef ds:uri="http://schemas.openxmlformats.org/package/2006/metadata/core-properties"/>
    <ds:schemaRef ds:uri="963e9672-bc96-423c-8899-2a623f0bed9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7284CB5C-987E-495F-8498-CB5A2E766C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5c1b3f-1dea-4670-836f-68fb9e921fae"/>
    <ds:schemaRef ds:uri="963e9672-bc96-423c-8899-2a623f0bed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6168</TotalTime>
  <Words>646</Words>
  <Application>Microsoft Office PowerPoint</Application>
  <PresentationFormat>Widescreen</PresentationFormat>
  <Paragraphs>84</Paragraphs>
  <Slides>7</Slides>
  <Notes>6</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5" baseType="lpstr">
      <vt:lpstr>Arial</vt:lpstr>
      <vt:lpstr>Gill Sans MT</vt:lpstr>
      <vt:lpstr>Henderson BCG Sans Light</vt:lpstr>
      <vt:lpstr>Termina Heavy</vt:lpstr>
      <vt:lpstr>Trebuchet MS</vt:lpstr>
      <vt:lpstr>Connecticut Grid 16:9</vt:lpstr>
      <vt:lpstr>think-cell Slide</vt:lpstr>
      <vt:lpstr>PowerPoint Presentation</vt:lpstr>
      <vt:lpstr>PowerPoint Presentation</vt:lpstr>
      <vt:lpstr>PowerPoint Presentation</vt:lpstr>
      <vt:lpstr>Capabilities and services (1 of 2)</vt:lpstr>
      <vt:lpstr>Capabilities and services (2 of 2)</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Leyla Sudbury</cp:lastModifiedBy>
  <cp:revision>501</cp:revision>
  <cp:lastPrinted>2025-12-17T20:36:55Z</cp:lastPrinted>
  <dcterms:created xsi:type="dcterms:W3CDTF">2025-03-11T15:06:14Z</dcterms:created>
  <dcterms:modified xsi:type="dcterms:W3CDTF">2025-12-29T22:2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3-11T16:40:52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33c180b9-3083-47ca-af61-4e2ecf15f2d9</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y fmtid="{D5CDD505-2E9C-101B-9397-08002B2CF9AE}" pid="15" name="ContentTypeId">
    <vt:lpwstr>0x01010060330774D9372C4A8E2825C7E4477C3B</vt:lpwstr>
  </property>
</Properties>
</file>